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745" r:id="rId2"/>
    <p:sldId id="257" r:id="rId3"/>
    <p:sldId id="263" r:id="rId4"/>
    <p:sldId id="264" r:id="rId5"/>
    <p:sldId id="456" r:id="rId6"/>
    <p:sldId id="471" r:id="rId7"/>
  </p:sldIdLst>
  <p:sldSz cx="15119350" cy="1069181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5" d="100"/>
          <a:sy n="55" d="100"/>
        </p:scale>
        <p:origin x="121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hmoud%20Mehany\Desktop\Book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115640526484"/>
          <c:y val="9.7091071163274409E-2"/>
          <c:w val="0.81565214864747071"/>
          <c:h val="0.83411974446590398"/>
        </c:manualLayout>
      </c:layout>
      <c:doughnutChart>
        <c:varyColors val="1"/>
        <c:ser>
          <c:idx val="0"/>
          <c:order val="0"/>
          <c:tx>
            <c:strRef>
              <c:f>Sheet4!$J$5</c:f>
              <c:strCache>
                <c:ptCount val="1"/>
                <c:pt idx="0">
                  <c:v>كمية الحمأة م3/سنة</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228B-4C51-8EB1-B1105FE70D7A}"/>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228B-4C51-8EB1-B1105FE70D7A}"/>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228B-4C51-8EB1-B1105FE70D7A}"/>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228B-4C51-8EB1-B1105FE70D7A}"/>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228B-4C51-8EB1-B1105FE70D7A}"/>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228B-4C51-8EB1-B1105FE70D7A}"/>
              </c:ext>
            </c:extLst>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D-228B-4C51-8EB1-B1105FE70D7A}"/>
              </c:ext>
            </c:extLst>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F-228B-4C51-8EB1-B1105FE70D7A}"/>
              </c:ext>
            </c:extLst>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1-228B-4C51-8EB1-B1105FE70D7A}"/>
              </c:ext>
            </c:extLst>
          </c:dPt>
          <c:dPt>
            <c:idx val="9"/>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3-228B-4C51-8EB1-B1105FE70D7A}"/>
              </c:ext>
            </c:extLst>
          </c:dPt>
          <c:dPt>
            <c:idx val="10"/>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5-228B-4C51-8EB1-B1105FE70D7A}"/>
              </c:ext>
            </c:extLst>
          </c:dPt>
          <c:dPt>
            <c:idx val="11"/>
            <c:bubble3D val="0"/>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7-228B-4C51-8EB1-B1105FE70D7A}"/>
              </c:ext>
            </c:extLst>
          </c:dPt>
          <c:dPt>
            <c:idx val="12"/>
            <c:bubble3D val="0"/>
            <c:spPr>
              <a:gradFill rotWithShape="1">
                <a:gsLst>
                  <a:gs pos="0">
                    <a:schemeClr val="accent1">
                      <a:lumMod val="80000"/>
                      <a:lumOff val="20000"/>
                      <a:satMod val="103000"/>
                      <a:lumMod val="102000"/>
                      <a:tint val="94000"/>
                    </a:schemeClr>
                  </a:gs>
                  <a:gs pos="50000">
                    <a:schemeClr val="accent1">
                      <a:lumMod val="80000"/>
                      <a:lumOff val="20000"/>
                      <a:satMod val="110000"/>
                      <a:lumMod val="100000"/>
                      <a:shade val="100000"/>
                    </a:schemeClr>
                  </a:gs>
                  <a:gs pos="100000">
                    <a:schemeClr val="accent1">
                      <a:lumMod val="80000"/>
                      <a:lumOff val="20000"/>
                      <a:lumMod val="99000"/>
                      <a:satMod val="120000"/>
                      <a:shade val="78000"/>
                    </a:schemeClr>
                  </a:gs>
                </a:gsLst>
                <a:lin ang="5400000" scaled="0"/>
              </a:gradFill>
              <a:ln>
                <a:noFill/>
              </a:ln>
              <a:effectLst/>
            </c:spPr>
            <c:extLst>
              <c:ext xmlns:c16="http://schemas.microsoft.com/office/drawing/2014/chart" uri="{C3380CC4-5D6E-409C-BE32-E72D297353CC}">
                <c16:uniqueId val="{00000019-228B-4C51-8EB1-B1105FE70D7A}"/>
              </c:ext>
            </c:extLst>
          </c:dPt>
          <c:dPt>
            <c:idx val="13"/>
            <c:bubble3D val="0"/>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a:noFill/>
              </a:ln>
              <a:effectLst/>
            </c:spPr>
            <c:extLst>
              <c:ext xmlns:c16="http://schemas.microsoft.com/office/drawing/2014/chart" uri="{C3380CC4-5D6E-409C-BE32-E72D297353CC}">
                <c16:uniqueId val="{0000001B-228B-4C51-8EB1-B1105FE70D7A}"/>
              </c:ext>
            </c:extLst>
          </c:dPt>
          <c:dPt>
            <c:idx val="14"/>
            <c:bubble3D val="0"/>
            <c:spPr>
              <a:gradFill rotWithShape="1">
                <a:gsLst>
                  <a:gs pos="0">
                    <a:schemeClr val="accent3">
                      <a:lumMod val="80000"/>
                      <a:lumOff val="20000"/>
                      <a:satMod val="103000"/>
                      <a:lumMod val="102000"/>
                      <a:tint val="94000"/>
                    </a:schemeClr>
                  </a:gs>
                  <a:gs pos="50000">
                    <a:schemeClr val="accent3">
                      <a:lumMod val="80000"/>
                      <a:lumOff val="20000"/>
                      <a:satMod val="110000"/>
                      <a:lumMod val="100000"/>
                      <a:shade val="100000"/>
                    </a:schemeClr>
                  </a:gs>
                  <a:gs pos="100000">
                    <a:schemeClr val="accent3">
                      <a:lumMod val="80000"/>
                      <a:lumOff val="20000"/>
                      <a:lumMod val="99000"/>
                      <a:satMod val="120000"/>
                      <a:shade val="78000"/>
                    </a:schemeClr>
                  </a:gs>
                </a:gsLst>
                <a:lin ang="5400000" scaled="0"/>
              </a:gradFill>
              <a:ln>
                <a:noFill/>
              </a:ln>
              <a:effectLst/>
            </c:spPr>
            <c:extLst>
              <c:ext xmlns:c16="http://schemas.microsoft.com/office/drawing/2014/chart" uri="{C3380CC4-5D6E-409C-BE32-E72D297353CC}">
                <c16:uniqueId val="{0000001D-228B-4C51-8EB1-B1105FE70D7A}"/>
              </c:ext>
            </c:extLst>
          </c:dPt>
          <c:dLbls>
            <c:dLbl>
              <c:idx val="0"/>
              <c:layout>
                <c:manualLayout>
                  <c:x val="9.5325953259532595E-2"/>
                  <c:y val="-5.345911949685536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28B-4C51-8EB1-B1105FE70D7A}"/>
                </c:ext>
              </c:extLst>
            </c:dLbl>
            <c:dLbl>
              <c:idx val="1"/>
              <c:layout>
                <c:manualLayout>
                  <c:x val="0.15067650676506766"/>
                  <c:y val="-0.1132075471698113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28B-4C51-8EB1-B1105FE70D7A}"/>
                </c:ext>
              </c:extLst>
            </c:dLbl>
            <c:dLbl>
              <c:idx val="2"/>
              <c:layout>
                <c:manualLayout>
                  <c:x val="8.6100861008609975E-2"/>
                  <c:y val="0.1100628930817608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28B-4C51-8EB1-B1105FE70D7A}"/>
                </c:ext>
              </c:extLst>
            </c:dLbl>
            <c:dLbl>
              <c:idx val="3"/>
              <c:layout>
                <c:manualLayout>
                  <c:x val="-7.3800738007380087E-2"/>
                  <c:y val="0.1823899371069183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28B-4C51-8EB1-B1105FE70D7A}"/>
                </c:ext>
              </c:extLst>
            </c:dLbl>
            <c:dLbl>
              <c:idx val="4"/>
              <c:layout>
                <c:manualLayout>
                  <c:x val="-0.11992619926199262"/>
                  <c:y val="-4.088050314465408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28B-4C51-8EB1-B1105FE70D7A}"/>
                </c:ext>
              </c:extLst>
            </c:dLbl>
            <c:dLbl>
              <c:idx val="5"/>
              <c:layout>
                <c:manualLayout>
                  <c:x val="-0.13530135301353013"/>
                  <c:y val="7.547169811320754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28B-4C51-8EB1-B1105FE70D7A}"/>
                </c:ext>
              </c:extLst>
            </c:dLbl>
            <c:dLbl>
              <c:idx val="6"/>
              <c:layout>
                <c:manualLayout>
                  <c:x val="0.10435850214855739"/>
                  <c:y val="-4.225352112676065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228B-4C51-8EB1-B1105FE70D7A}"/>
                </c:ext>
              </c:extLst>
            </c:dLbl>
            <c:dLbl>
              <c:idx val="7"/>
              <c:layout>
                <c:manualLayout>
                  <c:x val="-8.3025830258302583E-2"/>
                  <c:y val="-0.13207547169811326"/>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228B-4C51-8EB1-B1105FE70D7A}"/>
                </c:ext>
              </c:extLst>
            </c:dLbl>
            <c:dLbl>
              <c:idx val="8"/>
              <c:layout>
                <c:manualLayout>
                  <c:x val="-7.3800738007380073E-2"/>
                  <c:y val="-7.861635220125785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228B-4C51-8EB1-B1105FE70D7A}"/>
                </c:ext>
              </c:extLst>
            </c:dLbl>
            <c:dLbl>
              <c:idx val="9"/>
              <c:layout>
                <c:manualLayout>
                  <c:x val="-9.8400984009840098E-2"/>
                  <c:y val="-9.748427672955976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228B-4C51-8EB1-B1105FE70D7A}"/>
                </c:ext>
              </c:extLst>
            </c:dLbl>
            <c:dLbl>
              <c:idx val="10"/>
              <c:layout>
                <c:manualLayout>
                  <c:x val="-0.14452644526445266"/>
                  <c:y val="-0.1226415094339622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228B-4C51-8EB1-B1105FE70D7A}"/>
                </c:ext>
              </c:extLst>
            </c:dLbl>
            <c:dLbl>
              <c:idx val="11"/>
              <c:layout>
                <c:manualLayout>
                  <c:x val="-8.6100861008610113E-2"/>
                  <c:y val="-0.1132075471698113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228B-4C51-8EB1-B1105FE70D7A}"/>
                </c:ext>
              </c:extLst>
            </c:dLbl>
            <c:dLbl>
              <c:idx val="12"/>
              <c:layout>
                <c:manualLayout>
                  <c:x val="-2.1525215252152521E-2"/>
                  <c:y val="-7.547169811320754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228B-4C51-8EB1-B1105FE70D7A}"/>
                </c:ext>
              </c:extLst>
            </c:dLbl>
            <c:dLbl>
              <c:idx val="13"/>
              <c:layout>
                <c:manualLayout>
                  <c:x val="5.5350553505535E-2"/>
                  <c:y val="-0.106918238993710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B-228B-4C51-8EB1-B1105FE70D7A}"/>
                </c:ext>
              </c:extLst>
            </c:dLbl>
            <c:dLbl>
              <c:idx val="14"/>
              <c:layout>
                <c:manualLayout>
                  <c:x val="-1.8450184501845018E-2"/>
                  <c:y val="0.1415094339622641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D-228B-4C51-8EB1-B1105FE70D7A}"/>
                </c:ext>
              </c:extLst>
            </c:dLbl>
            <c:spPr>
              <a:noFill/>
              <a:ln>
                <a:noFill/>
              </a:ln>
              <a:effectLst/>
            </c:spPr>
            <c:txPr>
              <a:bodyPr rot="0" spcFirstLastPara="1" vertOverflow="ellipsis" vert="horz" wrap="square" anchor="ctr" anchorCtr="1"/>
              <a:lstStyle/>
              <a:p>
                <a:pPr>
                  <a:defRPr sz="1200" b="1" i="0" u="none" strike="noStrike" kern="1200" baseline="0">
                    <a:solidFill>
                      <a:schemeClr val="tx2"/>
                    </a:solidFill>
                    <a:latin typeface="+mn-lt"/>
                    <a:ea typeface="+mn-ea"/>
                    <a:cs typeface="+mn-cs"/>
                  </a:defRPr>
                </a:pPr>
                <a:endParaRPr lang="ar-EG"/>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4!$K$6:$K$20</c:f>
              <c:strCache>
                <c:ptCount val="15"/>
                <c:pt idx="0">
                  <c:v>بلبيس</c:v>
                </c:pt>
                <c:pt idx="1">
                  <c:v>منيا القمح</c:v>
                </c:pt>
                <c:pt idx="2">
                  <c:v>مركز الزقازيق</c:v>
                </c:pt>
                <c:pt idx="3">
                  <c:v>أبو حماد</c:v>
                </c:pt>
                <c:pt idx="4">
                  <c:v>مشتول السوق</c:v>
                </c:pt>
                <c:pt idx="5">
                  <c:v>ههيا</c:v>
                </c:pt>
                <c:pt idx="6">
                  <c:v>الإبراهيمية</c:v>
                </c:pt>
                <c:pt idx="7">
                  <c:v>ديرب نجم</c:v>
                </c:pt>
                <c:pt idx="8">
                  <c:v>أبو كبير</c:v>
                </c:pt>
                <c:pt idx="9">
                  <c:v>فاقوس</c:v>
                </c:pt>
                <c:pt idx="10">
                  <c:v>كفر صقر</c:v>
                </c:pt>
                <c:pt idx="11">
                  <c:v>أولاد صقر</c:v>
                </c:pt>
                <c:pt idx="12">
                  <c:v>الحسينية</c:v>
                </c:pt>
                <c:pt idx="13">
                  <c:v>منشأة بني عمرو</c:v>
                </c:pt>
                <c:pt idx="14">
                  <c:v>صان الحجر</c:v>
                </c:pt>
              </c:strCache>
            </c:strRef>
          </c:cat>
          <c:val>
            <c:numRef>
              <c:f>Sheet4!$J$6:$J$20</c:f>
              <c:numCache>
                <c:formatCode>General</c:formatCode>
                <c:ptCount val="15"/>
                <c:pt idx="0">
                  <c:v>7140</c:v>
                </c:pt>
                <c:pt idx="1">
                  <c:v>6660</c:v>
                </c:pt>
                <c:pt idx="2">
                  <c:v>37860</c:v>
                </c:pt>
                <c:pt idx="3">
                  <c:v>3600</c:v>
                </c:pt>
                <c:pt idx="4">
                  <c:v>720</c:v>
                </c:pt>
                <c:pt idx="5">
                  <c:v>1080</c:v>
                </c:pt>
                <c:pt idx="6">
                  <c:v>1980</c:v>
                </c:pt>
                <c:pt idx="7">
                  <c:v>5180</c:v>
                </c:pt>
                <c:pt idx="8">
                  <c:v>5220</c:v>
                </c:pt>
                <c:pt idx="9">
                  <c:v>5400</c:v>
                </c:pt>
                <c:pt idx="10">
                  <c:v>1080</c:v>
                </c:pt>
                <c:pt idx="11">
                  <c:v>2880</c:v>
                </c:pt>
                <c:pt idx="12">
                  <c:v>2160</c:v>
                </c:pt>
                <c:pt idx="13">
                  <c:v>1200</c:v>
                </c:pt>
                <c:pt idx="14">
                  <c:v>1080</c:v>
                </c:pt>
              </c:numCache>
            </c:numRef>
          </c:val>
          <c:extLst>
            <c:ext xmlns:c16="http://schemas.microsoft.com/office/drawing/2014/chart" uri="{C3380CC4-5D6E-409C-BE32-E72D297353CC}">
              <c16:uniqueId val="{0000001E-228B-4C51-8EB1-B1105FE70D7A}"/>
            </c:ext>
          </c:extLst>
        </c:ser>
        <c:dLbls>
          <c:showLegendKey val="0"/>
          <c:showVal val="0"/>
          <c:showCatName val="1"/>
          <c:showSerName val="0"/>
          <c:showPercent val="1"/>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b="1"/>
      </a:pPr>
      <a:endParaRPr lang="ar-EG"/>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E7CC88-188B-4CAC-B38D-C889541579D7}" type="doc">
      <dgm:prSet loTypeId="urn:microsoft.com/office/officeart/2008/layout/LinedList" loCatId="list" qsTypeId="urn:microsoft.com/office/officeart/2005/8/quickstyle/simple5" qsCatId="simple" csTypeId="urn:microsoft.com/office/officeart/2005/8/colors/accent1_2" csCatId="accent1" phldr="1"/>
      <dgm:spPr/>
      <dgm:t>
        <a:bodyPr/>
        <a:lstStyle/>
        <a:p>
          <a:endParaRPr lang="en-US"/>
        </a:p>
      </dgm:t>
    </dgm:pt>
    <dgm:pt modelId="{BB8562E8-D8ED-4CE2-9EBC-9CA322D4B834}">
      <dgm:prSet phldrT="[Text]"/>
      <dgm:spPr/>
      <dgm:t>
        <a:bodyPr/>
        <a:lstStyle/>
        <a:p>
          <a:pPr rtl="1">
            <a:buFont typeface="+mj-lt"/>
            <a:buAutoNum type="arabicPeriod"/>
          </a:pPr>
          <a:r>
            <a:rPr lang="ar-EG" b="1" dirty="0"/>
            <a:t>م. عامر كمال </a:t>
          </a:r>
          <a:r>
            <a:rPr lang="ar-EG" b="1" dirty="0" err="1"/>
            <a:t>أبوحلاوة</a:t>
          </a:r>
          <a:r>
            <a:rPr lang="ar-EG" b="1" dirty="0"/>
            <a:t> – رئيس شركة</a:t>
          </a:r>
          <a:r>
            <a:rPr lang="en-US" b="1" dirty="0"/>
            <a:t> </a:t>
          </a:r>
          <a:r>
            <a:rPr lang="ar-EG" b="1" dirty="0"/>
            <a:t> مياه الشرب والصفر الصحي بالشرقية – رئيس الفريق</a:t>
          </a:r>
          <a:endParaRPr lang="en-US" b="1" dirty="0"/>
        </a:p>
      </dgm:t>
    </dgm:pt>
    <dgm:pt modelId="{13F50D93-2113-411B-B990-3FF0D3B09562}" type="parTrans" cxnId="{1C52EF4B-DB15-4E5E-8120-D1E23141D51B}">
      <dgm:prSet/>
      <dgm:spPr/>
      <dgm:t>
        <a:bodyPr/>
        <a:lstStyle/>
        <a:p>
          <a:pPr rtl="1"/>
          <a:endParaRPr lang="en-US" b="1"/>
        </a:p>
      </dgm:t>
    </dgm:pt>
    <dgm:pt modelId="{F5169FF6-1505-4371-A27E-99CC4D5417BC}" type="sibTrans" cxnId="{1C52EF4B-DB15-4E5E-8120-D1E23141D51B}">
      <dgm:prSet/>
      <dgm:spPr/>
      <dgm:t>
        <a:bodyPr/>
        <a:lstStyle/>
        <a:p>
          <a:pPr rtl="1"/>
          <a:endParaRPr lang="en-US" b="1"/>
        </a:p>
      </dgm:t>
    </dgm:pt>
    <dgm:pt modelId="{E39080CD-50DF-4A25-B993-B8E3422AB353}">
      <dgm:prSet phldrT="[Text]"/>
      <dgm:spPr/>
      <dgm:t>
        <a:bodyPr/>
        <a:lstStyle/>
        <a:p>
          <a:pPr rtl="1">
            <a:buFont typeface="+mj-lt"/>
            <a:buAutoNum type="arabicPeriod"/>
          </a:pPr>
          <a:r>
            <a:rPr lang="ar-EG" b="1" dirty="0"/>
            <a:t>د .محمود عبد الرحمن سعد – مدير إدارة سلامة ومأمونيه المياه بالشركة القابضة – مشرف عام الفريق</a:t>
          </a:r>
          <a:endParaRPr lang="en-US" b="1" dirty="0"/>
        </a:p>
      </dgm:t>
    </dgm:pt>
    <dgm:pt modelId="{58EE4EA0-FE29-4767-A76D-F76B938F26F7}" type="parTrans" cxnId="{19B7AB58-5647-4E08-A728-F7970C7DE3DA}">
      <dgm:prSet/>
      <dgm:spPr/>
      <dgm:t>
        <a:bodyPr/>
        <a:lstStyle/>
        <a:p>
          <a:pPr rtl="1"/>
          <a:endParaRPr lang="en-US" b="1"/>
        </a:p>
      </dgm:t>
    </dgm:pt>
    <dgm:pt modelId="{60C2F454-8A07-4265-80D1-DB33BA10C138}" type="sibTrans" cxnId="{19B7AB58-5647-4E08-A728-F7970C7DE3DA}">
      <dgm:prSet/>
      <dgm:spPr/>
      <dgm:t>
        <a:bodyPr/>
        <a:lstStyle/>
        <a:p>
          <a:pPr rtl="1"/>
          <a:endParaRPr lang="en-US" b="1"/>
        </a:p>
      </dgm:t>
    </dgm:pt>
    <dgm:pt modelId="{3C2A8FFB-6BD7-4CDA-979C-3ADDD80306AA}">
      <dgm:prSet phldrT="[Text]"/>
      <dgm:spPr/>
      <dgm:t>
        <a:bodyPr/>
        <a:lstStyle/>
        <a:p>
          <a:pPr rtl="1">
            <a:buFont typeface="+mj-lt"/>
            <a:buAutoNum type="arabicPeriod"/>
          </a:pPr>
          <a:r>
            <a:rPr lang="ar-EG" b="1" dirty="0"/>
            <a:t>د. اميره هاني محمد عبدالعال – مدير اداره مأمونيه تداول الصرف الصحي بشركه الشرقية – منسق الفريق </a:t>
          </a:r>
          <a:endParaRPr lang="en-US" b="1" dirty="0"/>
        </a:p>
      </dgm:t>
    </dgm:pt>
    <dgm:pt modelId="{F008540A-19F5-49F0-96BE-CBC070B6CFFC}" type="parTrans" cxnId="{D1908A23-3D3B-41D0-B8B5-B19096A6EDDC}">
      <dgm:prSet/>
      <dgm:spPr/>
      <dgm:t>
        <a:bodyPr/>
        <a:lstStyle/>
        <a:p>
          <a:pPr rtl="1"/>
          <a:endParaRPr lang="en-US" b="1"/>
        </a:p>
      </dgm:t>
    </dgm:pt>
    <dgm:pt modelId="{FA49C63F-1208-4D6F-A3D1-76A2B99B817E}" type="sibTrans" cxnId="{D1908A23-3D3B-41D0-B8B5-B19096A6EDDC}">
      <dgm:prSet/>
      <dgm:spPr/>
      <dgm:t>
        <a:bodyPr/>
        <a:lstStyle/>
        <a:p>
          <a:pPr rtl="1"/>
          <a:endParaRPr lang="en-US" b="1"/>
        </a:p>
      </dgm:t>
    </dgm:pt>
    <dgm:pt modelId="{E34FCB25-E9A5-4FF7-A830-96D5121337EE}">
      <dgm:prSet phldrT="[Text]"/>
      <dgm:spPr/>
      <dgm:t>
        <a:bodyPr/>
        <a:lstStyle/>
        <a:p>
          <a:pPr rtl="1">
            <a:buFont typeface="+mj-lt"/>
            <a:buAutoNum type="arabicPeriod"/>
          </a:pPr>
          <a:r>
            <a:rPr lang="ar-EG" b="1" dirty="0"/>
            <a:t>د. احمد جمال سيد – مدير شئون البيئة بالشركة القابضة – عضو بفريق العمل</a:t>
          </a:r>
          <a:endParaRPr lang="en-US" b="1" dirty="0"/>
        </a:p>
      </dgm:t>
    </dgm:pt>
    <dgm:pt modelId="{20D4E331-D5D7-43BC-9B11-04E593C8AFC3}" type="parTrans" cxnId="{075C85E0-66E3-4B0A-8B44-3DFED93315F0}">
      <dgm:prSet/>
      <dgm:spPr/>
      <dgm:t>
        <a:bodyPr/>
        <a:lstStyle/>
        <a:p>
          <a:pPr rtl="1"/>
          <a:endParaRPr lang="en-US" b="1"/>
        </a:p>
      </dgm:t>
    </dgm:pt>
    <dgm:pt modelId="{81071615-2523-44EE-BFB8-846B417C1B64}" type="sibTrans" cxnId="{075C85E0-66E3-4B0A-8B44-3DFED93315F0}">
      <dgm:prSet/>
      <dgm:spPr/>
      <dgm:t>
        <a:bodyPr/>
        <a:lstStyle/>
        <a:p>
          <a:pPr rtl="1"/>
          <a:endParaRPr lang="en-US" b="1"/>
        </a:p>
      </dgm:t>
    </dgm:pt>
    <dgm:pt modelId="{6A4C0D3D-ED1C-4F15-9B1E-A51F70648D1E}">
      <dgm:prSet phldrT="[Text]"/>
      <dgm:spPr/>
      <dgm:t>
        <a:bodyPr/>
        <a:lstStyle/>
        <a:p>
          <a:pPr rtl="1">
            <a:buFont typeface="+mj-lt"/>
            <a:buAutoNum type="arabicPeriod"/>
          </a:pPr>
          <a:r>
            <a:rPr lang="ar-EG" b="1" dirty="0"/>
            <a:t>د. اسماء الحسيني صديق – كيميائي إدارة المأمونية – عضو بفريق العمل</a:t>
          </a:r>
          <a:endParaRPr lang="en-US" b="1" dirty="0"/>
        </a:p>
      </dgm:t>
    </dgm:pt>
    <dgm:pt modelId="{95254E75-52D6-4D80-833A-DEB91C498705}" type="parTrans" cxnId="{26B258E8-4B70-4CFC-BB1C-D0DC95271C4F}">
      <dgm:prSet/>
      <dgm:spPr/>
      <dgm:t>
        <a:bodyPr/>
        <a:lstStyle/>
        <a:p>
          <a:pPr rtl="1"/>
          <a:endParaRPr lang="en-US" b="1"/>
        </a:p>
      </dgm:t>
    </dgm:pt>
    <dgm:pt modelId="{54513377-81FE-4F14-AE06-42D15CC2CC61}" type="sibTrans" cxnId="{26B258E8-4B70-4CFC-BB1C-D0DC95271C4F}">
      <dgm:prSet/>
      <dgm:spPr/>
      <dgm:t>
        <a:bodyPr/>
        <a:lstStyle/>
        <a:p>
          <a:pPr rtl="1"/>
          <a:endParaRPr lang="en-US" b="1"/>
        </a:p>
      </dgm:t>
    </dgm:pt>
    <dgm:pt modelId="{D61B86DD-00B6-40BA-91FD-69ECD2F99951}" type="pres">
      <dgm:prSet presAssocID="{77E7CC88-188B-4CAC-B38D-C889541579D7}" presName="vert0" presStyleCnt="0">
        <dgm:presLayoutVars>
          <dgm:dir/>
          <dgm:animOne val="branch"/>
          <dgm:animLvl val="lvl"/>
        </dgm:presLayoutVars>
      </dgm:prSet>
      <dgm:spPr/>
    </dgm:pt>
    <dgm:pt modelId="{1420E2F1-951D-4954-93E9-3EBE51C3D4E7}" type="pres">
      <dgm:prSet presAssocID="{BB8562E8-D8ED-4CE2-9EBC-9CA322D4B834}" presName="thickLine" presStyleLbl="alignNode1" presStyleIdx="0" presStyleCnt="5"/>
      <dgm:spPr/>
    </dgm:pt>
    <dgm:pt modelId="{5B5597B3-4C2A-402C-AFE0-F49ED748D0E5}" type="pres">
      <dgm:prSet presAssocID="{BB8562E8-D8ED-4CE2-9EBC-9CA322D4B834}" presName="horz1" presStyleCnt="0"/>
      <dgm:spPr/>
    </dgm:pt>
    <dgm:pt modelId="{D0F119B7-8D75-4AEB-AD76-F81606946FE4}" type="pres">
      <dgm:prSet presAssocID="{BB8562E8-D8ED-4CE2-9EBC-9CA322D4B834}" presName="tx1" presStyleLbl="revTx" presStyleIdx="0" presStyleCnt="5"/>
      <dgm:spPr/>
    </dgm:pt>
    <dgm:pt modelId="{5CBA8606-3531-4100-8703-CC329FC668FA}" type="pres">
      <dgm:prSet presAssocID="{BB8562E8-D8ED-4CE2-9EBC-9CA322D4B834}" presName="vert1" presStyleCnt="0"/>
      <dgm:spPr/>
    </dgm:pt>
    <dgm:pt modelId="{D641CD27-FD1C-4BF2-B128-D151F45CE5E6}" type="pres">
      <dgm:prSet presAssocID="{E39080CD-50DF-4A25-B993-B8E3422AB353}" presName="thickLine" presStyleLbl="alignNode1" presStyleIdx="1" presStyleCnt="5"/>
      <dgm:spPr/>
    </dgm:pt>
    <dgm:pt modelId="{EDF02769-E17B-4741-A1A7-4DD35A9FD70F}" type="pres">
      <dgm:prSet presAssocID="{E39080CD-50DF-4A25-B993-B8E3422AB353}" presName="horz1" presStyleCnt="0"/>
      <dgm:spPr/>
    </dgm:pt>
    <dgm:pt modelId="{7B0CB0A0-E106-4E4A-9583-6BE617C05E10}" type="pres">
      <dgm:prSet presAssocID="{E39080CD-50DF-4A25-B993-B8E3422AB353}" presName="tx1" presStyleLbl="revTx" presStyleIdx="1" presStyleCnt="5"/>
      <dgm:spPr/>
    </dgm:pt>
    <dgm:pt modelId="{98CEAE7F-5603-4D26-9ED8-0F79DE663DCA}" type="pres">
      <dgm:prSet presAssocID="{E39080CD-50DF-4A25-B993-B8E3422AB353}" presName="vert1" presStyleCnt="0"/>
      <dgm:spPr/>
    </dgm:pt>
    <dgm:pt modelId="{D450CD6E-AF9E-4865-B25A-04D1A1C8378F}" type="pres">
      <dgm:prSet presAssocID="{E34FCB25-E9A5-4FF7-A830-96D5121337EE}" presName="thickLine" presStyleLbl="alignNode1" presStyleIdx="2" presStyleCnt="5"/>
      <dgm:spPr/>
    </dgm:pt>
    <dgm:pt modelId="{17E3DA00-B843-4413-908D-D27D624BCAC7}" type="pres">
      <dgm:prSet presAssocID="{E34FCB25-E9A5-4FF7-A830-96D5121337EE}" presName="horz1" presStyleCnt="0"/>
      <dgm:spPr/>
    </dgm:pt>
    <dgm:pt modelId="{9B855BBD-E251-4DD9-AA94-A72A6063B77B}" type="pres">
      <dgm:prSet presAssocID="{E34FCB25-E9A5-4FF7-A830-96D5121337EE}" presName="tx1" presStyleLbl="revTx" presStyleIdx="2" presStyleCnt="5"/>
      <dgm:spPr/>
    </dgm:pt>
    <dgm:pt modelId="{65865F02-9602-4BBA-B160-8E6309B16413}" type="pres">
      <dgm:prSet presAssocID="{E34FCB25-E9A5-4FF7-A830-96D5121337EE}" presName="vert1" presStyleCnt="0"/>
      <dgm:spPr/>
    </dgm:pt>
    <dgm:pt modelId="{8B1BA4B3-4BFE-45A1-87B0-E28D6A1815E2}" type="pres">
      <dgm:prSet presAssocID="{3C2A8FFB-6BD7-4CDA-979C-3ADDD80306AA}" presName="thickLine" presStyleLbl="alignNode1" presStyleIdx="3" presStyleCnt="5"/>
      <dgm:spPr/>
    </dgm:pt>
    <dgm:pt modelId="{3BED99DF-07C2-47D6-A2DA-4166D776D308}" type="pres">
      <dgm:prSet presAssocID="{3C2A8FFB-6BD7-4CDA-979C-3ADDD80306AA}" presName="horz1" presStyleCnt="0"/>
      <dgm:spPr/>
    </dgm:pt>
    <dgm:pt modelId="{D56FECF3-1F7F-43EA-A2A5-0A523A813648}" type="pres">
      <dgm:prSet presAssocID="{3C2A8FFB-6BD7-4CDA-979C-3ADDD80306AA}" presName="tx1" presStyleLbl="revTx" presStyleIdx="3" presStyleCnt="5"/>
      <dgm:spPr/>
    </dgm:pt>
    <dgm:pt modelId="{9D4A76FF-9F38-492B-A00F-405A6EABA6E4}" type="pres">
      <dgm:prSet presAssocID="{3C2A8FFB-6BD7-4CDA-979C-3ADDD80306AA}" presName="vert1" presStyleCnt="0"/>
      <dgm:spPr/>
    </dgm:pt>
    <dgm:pt modelId="{7EA164AD-03CB-4A9F-86B0-7941AFEF8678}" type="pres">
      <dgm:prSet presAssocID="{6A4C0D3D-ED1C-4F15-9B1E-A51F70648D1E}" presName="thickLine" presStyleLbl="alignNode1" presStyleIdx="4" presStyleCnt="5"/>
      <dgm:spPr/>
    </dgm:pt>
    <dgm:pt modelId="{7AF612F6-F481-47F3-978F-3CBCDE5AB5D7}" type="pres">
      <dgm:prSet presAssocID="{6A4C0D3D-ED1C-4F15-9B1E-A51F70648D1E}" presName="horz1" presStyleCnt="0"/>
      <dgm:spPr/>
    </dgm:pt>
    <dgm:pt modelId="{BDE9BF47-681E-4E4F-90E7-015DFE14AFA4}" type="pres">
      <dgm:prSet presAssocID="{6A4C0D3D-ED1C-4F15-9B1E-A51F70648D1E}" presName="tx1" presStyleLbl="revTx" presStyleIdx="4" presStyleCnt="5"/>
      <dgm:spPr/>
    </dgm:pt>
    <dgm:pt modelId="{E8CE632A-70C2-42C0-BD8E-2C650B977B99}" type="pres">
      <dgm:prSet presAssocID="{6A4C0D3D-ED1C-4F15-9B1E-A51F70648D1E}" presName="vert1" presStyleCnt="0"/>
      <dgm:spPr/>
    </dgm:pt>
  </dgm:ptLst>
  <dgm:cxnLst>
    <dgm:cxn modelId="{126FBA05-6BEA-404E-966B-629E3293B5A5}" type="presOf" srcId="{3C2A8FFB-6BD7-4CDA-979C-3ADDD80306AA}" destId="{D56FECF3-1F7F-43EA-A2A5-0A523A813648}" srcOrd="0" destOrd="0" presId="urn:microsoft.com/office/officeart/2008/layout/LinedList"/>
    <dgm:cxn modelId="{FA3B170C-539D-4058-BD2A-2B54BB18EE04}" type="presOf" srcId="{77E7CC88-188B-4CAC-B38D-C889541579D7}" destId="{D61B86DD-00B6-40BA-91FD-69ECD2F99951}" srcOrd="0" destOrd="0" presId="urn:microsoft.com/office/officeart/2008/layout/LinedList"/>
    <dgm:cxn modelId="{D1908A23-3D3B-41D0-B8B5-B19096A6EDDC}" srcId="{77E7CC88-188B-4CAC-B38D-C889541579D7}" destId="{3C2A8FFB-6BD7-4CDA-979C-3ADDD80306AA}" srcOrd="3" destOrd="0" parTransId="{F008540A-19F5-49F0-96BE-CBC070B6CFFC}" sibTransId="{FA49C63F-1208-4D6F-A3D1-76A2B99B817E}"/>
    <dgm:cxn modelId="{8805CF65-CC85-4CF1-BBA3-F8940410A67A}" type="presOf" srcId="{6A4C0D3D-ED1C-4F15-9B1E-A51F70648D1E}" destId="{BDE9BF47-681E-4E4F-90E7-015DFE14AFA4}" srcOrd="0" destOrd="0" presId="urn:microsoft.com/office/officeart/2008/layout/LinedList"/>
    <dgm:cxn modelId="{1C52EF4B-DB15-4E5E-8120-D1E23141D51B}" srcId="{77E7CC88-188B-4CAC-B38D-C889541579D7}" destId="{BB8562E8-D8ED-4CE2-9EBC-9CA322D4B834}" srcOrd="0" destOrd="0" parTransId="{13F50D93-2113-411B-B990-3FF0D3B09562}" sibTransId="{F5169FF6-1505-4371-A27E-99CC4D5417BC}"/>
    <dgm:cxn modelId="{19B7AB58-5647-4E08-A728-F7970C7DE3DA}" srcId="{77E7CC88-188B-4CAC-B38D-C889541579D7}" destId="{E39080CD-50DF-4A25-B993-B8E3422AB353}" srcOrd="1" destOrd="0" parTransId="{58EE4EA0-FE29-4767-A76D-F76B938F26F7}" sibTransId="{60C2F454-8A07-4265-80D1-DB33BA10C138}"/>
    <dgm:cxn modelId="{76C99684-96A1-40CB-9EFC-D77E80896B02}" type="presOf" srcId="{E34FCB25-E9A5-4FF7-A830-96D5121337EE}" destId="{9B855BBD-E251-4DD9-AA94-A72A6063B77B}" srcOrd="0" destOrd="0" presId="urn:microsoft.com/office/officeart/2008/layout/LinedList"/>
    <dgm:cxn modelId="{FBAD5F88-0666-4193-B0AA-CBCE19C12601}" type="presOf" srcId="{E39080CD-50DF-4A25-B993-B8E3422AB353}" destId="{7B0CB0A0-E106-4E4A-9583-6BE617C05E10}" srcOrd="0" destOrd="0" presId="urn:microsoft.com/office/officeart/2008/layout/LinedList"/>
    <dgm:cxn modelId="{D0518FB2-DCEC-47B0-A07E-0DD9F332CAE8}" type="presOf" srcId="{BB8562E8-D8ED-4CE2-9EBC-9CA322D4B834}" destId="{D0F119B7-8D75-4AEB-AD76-F81606946FE4}" srcOrd="0" destOrd="0" presId="urn:microsoft.com/office/officeart/2008/layout/LinedList"/>
    <dgm:cxn modelId="{075C85E0-66E3-4B0A-8B44-3DFED93315F0}" srcId="{77E7CC88-188B-4CAC-B38D-C889541579D7}" destId="{E34FCB25-E9A5-4FF7-A830-96D5121337EE}" srcOrd="2" destOrd="0" parTransId="{20D4E331-D5D7-43BC-9B11-04E593C8AFC3}" sibTransId="{81071615-2523-44EE-BFB8-846B417C1B64}"/>
    <dgm:cxn modelId="{26B258E8-4B70-4CFC-BB1C-D0DC95271C4F}" srcId="{77E7CC88-188B-4CAC-B38D-C889541579D7}" destId="{6A4C0D3D-ED1C-4F15-9B1E-A51F70648D1E}" srcOrd="4" destOrd="0" parTransId="{95254E75-52D6-4D80-833A-DEB91C498705}" sibTransId="{54513377-81FE-4F14-AE06-42D15CC2CC61}"/>
    <dgm:cxn modelId="{68BBE5F5-E25F-489A-809C-EC8F8889DAEC}" type="presParOf" srcId="{D61B86DD-00B6-40BA-91FD-69ECD2F99951}" destId="{1420E2F1-951D-4954-93E9-3EBE51C3D4E7}" srcOrd="0" destOrd="0" presId="urn:microsoft.com/office/officeart/2008/layout/LinedList"/>
    <dgm:cxn modelId="{22D7C9F8-9566-4F96-AE1C-B5F3A0C6705F}" type="presParOf" srcId="{D61B86DD-00B6-40BA-91FD-69ECD2F99951}" destId="{5B5597B3-4C2A-402C-AFE0-F49ED748D0E5}" srcOrd="1" destOrd="0" presId="urn:microsoft.com/office/officeart/2008/layout/LinedList"/>
    <dgm:cxn modelId="{A4078CFD-C6D0-4D9B-B515-228441C73F05}" type="presParOf" srcId="{5B5597B3-4C2A-402C-AFE0-F49ED748D0E5}" destId="{D0F119B7-8D75-4AEB-AD76-F81606946FE4}" srcOrd="0" destOrd="0" presId="urn:microsoft.com/office/officeart/2008/layout/LinedList"/>
    <dgm:cxn modelId="{086E474E-C18C-4040-8F40-0221129E411E}" type="presParOf" srcId="{5B5597B3-4C2A-402C-AFE0-F49ED748D0E5}" destId="{5CBA8606-3531-4100-8703-CC329FC668FA}" srcOrd="1" destOrd="0" presId="urn:microsoft.com/office/officeart/2008/layout/LinedList"/>
    <dgm:cxn modelId="{62335318-D714-4058-93E1-FD6A16EA2E09}" type="presParOf" srcId="{D61B86DD-00B6-40BA-91FD-69ECD2F99951}" destId="{D641CD27-FD1C-4BF2-B128-D151F45CE5E6}" srcOrd="2" destOrd="0" presId="urn:microsoft.com/office/officeart/2008/layout/LinedList"/>
    <dgm:cxn modelId="{1B01016D-FCF8-4F33-BC34-0EC4C1550FA9}" type="presParOf" srcId="{D61B86DD-00B6-40BA-91FD-69ECD2F99951}" destId="{EDF02769-E17B-4741-A1A7-4DD35A9FD70F}" srcOrd="3" destOrd="0" presId="urn:microsoft.com/office/officeart/2008/layout/LinedList"/>
    <dgm:cxn modelId="{C2FF9EA9-6ADD-41C1-AA93-2E52E72CD7E0}" type="presParOf" srcId="{EDF02769-E17B-4741-A1A7-4DD35A9FD70F}" destId="{7B0CB0A0-E106-4E4A-9583-6BE617C05E10}" srcOrd="0" destOrd="0" presId="urn:microsoft.com/office/officeart/2008/layout/LinedList"/>
    <dgm:cxn modelId="{7FFD43EF-1A48-481F-9AB9-650A1CDE14D7}" type="presParOf" srcId="{EDF02769-E17B-4741-A1A7-4DD35A9FD70F}" destId="{98CEAE7F-5603-4D26-9ED8-0F79DE663DCA}" srcOrd="1" destOrd="0" presId="urn:microsoft.com/office/officeart/2008/layout/LinedList"/>
    <dgm:cxn modelId="{D5F81A2B-97D4-474C-9DA0-6F4161CF20FC}" type="presParOf" srcId="{D61B86DD-00B6-40BA-91FD-69ECD2F99951}" destId="{D450CD6E-AF9E-4865-B25A-04D1A1C8378F}" srcOrd="4" destOrd="0" presId="urn:microsoft.com/office/officeart/2008/layout/LinedList"/>
    <dgm:cxn modelId="{47272790-CDDC-4982-B81F-C488F3027474}" type="presParOf" srcId="{D61B86DD-00B6-40BA-91FD-69ECD2F99951}" destId="{17E3DA00-B843-4413-908D-D27D624BCAC7}" srcOrd="5" destOrd="0" presId="urn:microsoft.com/office/officeart/2008/layout/LinedList"/>
    <dgm:cxn modelId="{79CF8BC6-8497-4856-9482-F94D2E56702F}" type="presParOf" srcId="{17E3DA00-B843-4413-908D-D27D624BCAC7}" destId="{9B855BBD-E251-4DD9-AA94-A72A6063B77B}" srcOrd="0" destOrd="0" presId="urn:microsoft.com/office/officeart/2008/layout/LinedList"/>
    <dgm:cxn modelId="{FD4E29CE-1E32-4C7E-8C58-FC58BE2791D1}" type="presParOf" srcId="{17E3DA00-B843-4413-908D-D27D624BCAC7}" destId="{65865F02-9602-4BBA-B160-8E6309B16413}" srcOrd="1" destOrd="0" presId="urn:microsoft.com/office/officeart/2008/layout/LinedList"/>
    <dgm:cxn modelId="{19390067-3E09-47A9-89B8-E95CED366EFB}" type="presParOf" srcId="{D61B86DD-00B6-40BA-91FD-69ECD2F99951}" destId="{8B1BA4B3-4BFE-45A1-87B0-E28D6A1815E2}" srcOrd="6" destOrd="0" presId="urn:microsoft.com/office/officeart/2008/layout/LinedList"/>
    <dgm:cxn modelId="{C1F2014F-DE8D-411F-8365-FFDD9BEF3CC6}" type="presParOf" srcId="{D61B86DD-00B6-40BA-91FD-69ECD2F99951}" destId="{3BED99DF-07C2-47D6-A2DA-4166D776D308}" srcOrd="7" destOrd="0" presId="urn:microsoft.com/office/officeart/2008/layout/LinedList"/>
    <dgm:cxn modelId="{14CD576B-A53A-4172-8034-1EA3B16BB6FC}" type="presParOf" srcId="{3BED99DF-07C2-47D6-A2DA-4166D776D308}" destId="{D56FECF3-1F7F-43EA-A2A5-0A523A813648}" srcOrd="0" destOrd="0" presId="urn:microsoft.com/office/officeart/2008/layout/LinedList"/>
    <dgm:cxn modelId="{14CD828A-FA2C-47B9-A7E4-B1F0846C3DAF}" type="presParOf" srcId="{3BED99DF-07C2-47D6-A2DA-4166D776D308}" destId="{9D4A76FF-9F38-492B-A00F-405A6EABA6E4}" srcOrd="1" destOrd="0" presId="urn:microsoft.com/office/officeart/2008/layout/LinedList"/>
    <dgm:cxn modelId="{3867F606-5122-413F-8A23-9E41ACBA9927}" type="presParOf" srcId="{D61B86DD-00B6-40BA-91FD-69ECD2F99951}" destId="{7EA164AD-03CB-4A9F-86B0-7941AFEF8678}" srcOrd="8" destOrd="0" presId="urn:microsoft.com/office/officeart/2008/layout/LinedList"/>
    <dgm:cxn modelId="{B76127CF-346B-4F6B-BE6F-4B99BBDF1AEF}" type="presParOf" srcId="{D61B86DD-00B6-40BA-91FD-69ECD2F99951}" destId="{7AF612F6-F481-47F3-978F-3CBCDE5AB5D7}" srcOrd="9" destOrd="0" presId="urn:microsoft.com/office/officeart/2008/layout/LinedList"/>
    <dgm:cxn modelId="{2CB4639D-5A1B-48D7-AD70-3FD1DB246AE0}" type="presParOf" srcId="{7AF612F6-F481-47F3-978F-3CBCDE5AB5D7}" destId="{BDE9BF47-681E-4E4F-90E7-015DFE14AFA4}" srcOrd="0" destOrd="0" presId="urn:microsoft.com/office/officeart/2008/layout/LinedList"/>
    <dgm:cxn modelId="{B51D6DC5-9A76-43F8-A9B3-9872929A4864}" type="presParOf" srcId="{7AF612F6-F481-47F3-978F-3CBCDE5AB5D7}" destId="{E8CE632A-70C2-42C0-BD8E-2C650B977B9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E8E79F-D94B-459C-B43E-67AD7B6AD804}" type="doc">
      <dgm:prSet loTypeId="urn:microsoft.com/office/officeart/2008/layout/RadialCluster" loCatId="cycle" qsTypeId="urn:microsoft.com/office/officeart/2005/8/quickstyle/simple1" qsCatId="simple" csTypeId="urn:microsoft.com/office/officeart/2005/8/colors/colorful1" csCatId="colorful" phldr="1"/>
      <dgm:spPr/>
      <dgm:t>
        <a:bodyPr/>
        <a:lstStyle/>
        <a:p>
          <a:endParaRPr lang="en-US"/>
        </a:p>
      </dgm:t>
    </dgm:pt>
    <dgm:pt modelId="{98440592-245B-45D5-B1BE-BA8E70191A08}">
      <dgm:prSet phldrT="[Text]" custT="1"/>
      <dgm:spPr/>
      <dgm:t>
        <a:bodyPr/>
        <a:lstStyle/>
        <a:p>
          <a:r>
            <a:rPr lang="ar-EG" sz="1800" b="1" dirty="0"/>
            <a:t>الفئات المستفيدة</a:t>
          </a:r>
          <a:endParaRPr lang="en-US" sz="1800" b="1" dirty="0"/>
        </a:p>
      </dgm:t>
    </dgm:pt>
    <dgm:pt modelId="{5632588A-B07A-4099-9B04-81322904F2F6}" type="parTrans" cxnId="{F908228C-81E6-4A15-A28E-E88175BAC887}">
      <dgm:prSet/>
      <dgm:spPr/>
      <dgm:t>
        <a:bodyPr/>
        <a:lstStyle/>
        <a:p>
          <a:endParaRPr lang="en-US" sz="1800"/>
        </a:p>
      </dgm:t>
    </dgm:pt>
    <dgm:pt modelId="{7C269F0B-063A-45B4-AC18-1E9D9DC554A4}" type="sibTrans" cxnId="{F908228C-81E6-4A15-A28E-E88175BAC887}">
      <dgm:prSet/>
      <dgm:spPr/>
      <dgm:t>
        <a:bodyPr/>
        <a:lstStyle/>
        <a:p>
          <a:endParaRPr lang="en-US" sz="1800"/>
        </a:p>
      </dgm:t>
    </dgm:pt>
    <dgm:pt modelId="{3B995B90-8146-4D33-9E25-7C90E22EBC57}">
      <dgm:prSet phldrT="[Text]" custT="1"/>
      <dgm:spPr/>
      <dgm:t>
        <a:bodyPr/>
        <a:lstStyle/>
        <a:p>
          <a:r>
            <a:rPr lang="ar-EG" sz="1100" b="1" dirty="0"/>
            <a:t>المزارعين والعمالة الموقتة</a:t>
          </a:r>
          <a:endParaRPr lang="en-US" sz="1100" b="1" dirty="0"/>
        </a:p>
      </dgm:t>
    </dgm:pt>
    <dgm:pt modelId="{B48EB562-BEB5-4EEA-BCCA-59D02765748A}" type="parTrans" cxnId="{34B8DD8B-83D3-4558-A355-64F11C9D91D6}">
      <dgm:prSet/>
      <dgm:spPr/>
      <dgm:t>
        <a:bodyPr/>
        <a:lstStyle/>
        <a:p>
          <a:endParaRPr lang="en-US" sz="1800"/>
        </a:p>
      </dgm:t>
    </dgm:pt>
    <dgm:pt modelId="{37C472A7-D689-4546-85C1-73EC6F49A855}" type="sibTrans" cxnId="{34B8DD8B-83D3-4558-A355-64F11C9D91D6}">
      <dgm:prSet/>
      <dgm:spPr/>
      <dgm:t>
        <a:bodyPr/>
        <a:lstStyle/>
        <a:p>
          <a:endParaRPr lang="en-US" sz="1800"/>
        </a:p>
      </dgm:t>
    </dgm:pt>
    <dgm:pt modelId="{34E7A03E-9587-45A9-B108-06F17E8EEA73}">
      <dgm:prSet phldrT="[Text]" custT="1"/>
      <dgm:spPr/>
      <dgm:t>
        <a:bodyPr/>
        <a:lstStyle/>
        <a:p>
          <a:r>
            <a:rPr lang="ar-EG" sz="1400" b="1" dirty="0"/>
            <a:t>الأطفال والمرأة </a:t>
          </a:r>
          <a:endParaRPr lang="en-US" sz="1400" b="1" dirty="0"/>
        </a:p>
      </dgm:t>
    </dgm:pt>
    <dgm:pt modelId="{07AA1865-6FD6-4B2A-A96A-54A1F204A28C}" type="parTrans" cxnId="{6E492918-8848-4744-B53E-328736949DB9}">
      <dgm:prSet/>
      <dgm:spPr/>
      <dgm:t>
        <a:bodyPr/>
        <a:lstStyle/>
        <a:p>
          <a:endParaRPr lang="en-US" sz="1800"/>
        </a:p>
      </dgm:t>
    </dgm:pt>
    <dgm:pt modelId="{DE303845-F53E-4B8F-A5D3-CDF4EB489C9D}" type="sibTrans" cxnId="{6E492918-8848-4744-B53E-328736949DB9}">
      <dgm:prSet/>
      <dgm:spPr/>
      <dgm:t>
        <a:bodyPr/>
        <a:lstStyle/>
        <a:p>
          <a:endParaRPr lang="en-US" sz="1800"/>
        </a:p>
      </dgm:t>
    </dgm:pt>
    <dgm:pt modelId="{2ED52171-2C88-4142-AAC3-F936970CABFE}">
      <dgm:prSet phldrT="[Text]" custT="1"/>
      <dgm:spPr/>
      <dgm:t>
        <a:bodyPr/>
        <a:lstStyle/>
        <a:p>
          <a:r>
            <a:rPr lang="ar-EG" sz="1400" b="1" dirty="0"/>
            <a:t>عمال الشركة</a:t>
          </a:r>
          <a:endParaRPr lang="en-US" sz="1400" b="1" dirty="0"/>
        </a:p>
      </dgm:t>
    </dgm:pt>
    <dgm:pt modelId="{8481F8B4-1826-40A3-B0B2-19F5483343C1}" type="parTrans" cxnId="{D72BEF11-BC2A-42AB-93ED-050257E57DC9}">
      <dgm:prSet/>
      <dgm:spPr/>
      <dgm:t>
        <a:bodyPr/>
        <a:lstStyle/>
        <a:p>
          <a:endParaRPr lang="en-US" sz="1800"/>
        </a:p>
      </dgm:t>
    </dgm:pt>
    <dgm:pt modelId="{409654F2-EC22-46EE-BE50-931315F3211C}" type="sibTrans" cxnId="{D72BEF11-BC2A-42AB-93ED-050257E57DC9}">
      <dgm:prSet/>
      <dgm:spPr/>
      <dgm:t>
        <a:bodyPr/>
        <a:lstStyle/>
        <a:p>
          <a:endParaRPr lang="en-US" sz="1800"/>
        </a:p>
      </dgm:t>
    </dgm:pt>
    <dgm:pt modelId="{5A658DE5-3FAA-4D1C-A326-C47982EB17F9}" type="pres">
      <dgm:prSet presAssocID="{BDE8E79F-D94B-459C-B43E-67AD7B6AD804}" presName="Name0" presStyleCnt="0">
        <dgm:presLayoutVars>
          <dgm:chMax val="1"/>
          <dgm:chPref val="1"/>
          <dgm:dir/>
          <dgm:animOne val="branch"/>
          <dgm:animLvl val="lvl"/>
        </dgm:presLayoutVars>
      </dgm:prSet>
      <dgm:spPr/>
    </dgm:pt>
    <dgm:pt modelId="{73B43D3F-281E-4F74-AC12-993B985B1391}" type="pres">
      <dgm:prSet presAssocID="{98440592-245B-45D5-B1BE-BA8E70191A08}" presName="singleCycle" presStyleCnt="0"/>
      <dgm:spPr/>
    </dgm:pt>
    <dgm:pt modelId="{88522B0D-4458-4EE6-AB85-922375730E19}" type="pres">
      <dgm:prSet presAssocID="{98440592-245B-45D5-B1BE-BA8E70191A08}" presName="singleCenter" presStyleLbl="node1" presStyleIdx="0" presStyleCnt="4" custScaleX="106221">
        <dgm:presLayoutVars>
          <dgm:chMax val="7"/>
          <dgm:chPref val="7"/>
        </dgm:presLayoutVars>
      </dgm:prSet>
      <dgm:spPr/>
    </dgm:pt>
    <dgm:pt modelId="{76C4E86A-16FD-418F-A952-B658DD3FA026}" type="pres">
      <dgm:prSet presAssocID="{B48EB562-BEB5-4EEA-BCCA-59D02765748A}" presName="Name56" presStyleLbl="parChTrans1D2" presStyleIdx="0" presStyleCnt="3"/>
      <dgm:spPr/>
    </dgm:pt>
    <dgm:pt modelId="{21133DFE-5CF4-409F-A40C-B5E39A591C5F}" type="pres">
      <dgm:prSet presAssocID="{3B995B90-8146-4D33-9E25-7C90E22EBC57}" presName="text0" presStyleLbl="node1" presStyleIdx="1" presStyleCnt="4" custScaleX="152019">
        <dgm:presLayoutVars>
          <dgm:bulletEnabled val="1"/>
        </dgm:presLayoutVars>
      </dgm:prSet>
      <dgm:spPr/>
    </dgm:pt>
    <dgm:pt modelId="{948AE4D5-C41F-40A7-974C-1AB379B57104}" type="pres">
      <dgm:prSet presAssocID="{07AA1865-6FD6-4B2A-A96A-54A1F204A28C}" presName="Name56" presStyleLbl="parChTrans1D2" presStyleIdx="1" presStyleCnt="3"/>
      <dgm:spPr/>
    </dgm:pt>
    <dgm:pt modelId="{B67B0C6F-4F38-4E44-B6D6-EC1E95AB9D3A}" type="pres">
      <dgm:prSet presAssocID="{34E7A03E-9587-45A9-B108-06F17E8EEA73}" presName="text0" presStyleLbl="node1" presStyleIdx="2" presStyleCnt="4" custScaleX="167744">
        <dgm:presLayoutVars>
          <dgm:bulletEnabled val="1"/>
        </dgm:presLayoutVars>
      </dgm:prSet>
      <dgm:spPr/>
    </dgm:pt>
    <dgm:pt modelId="{7EBC2A03-E431-4DDA-A4BB-F3E05B1D6EC7}" type="pres">
      <dgm:prSet presAssocID="{8481F8B4-1826-40A3-B0B2-19F5483343C1}" presName="Name56" presStyleLbl="parChTrans1D2" presStyleIdx="2" presStyleCnt="3"/>
      <dgm:spPr/>
    </dgm:pt>
    <dgm:pt modelId="{46A50B0D-E6C7-4879-A694-FC2073CC99C5}" type="pres">
      <dgm:prSet presAssocID="{2ED52171-2C88-4142-AAC3-F936970CABFE}" presName="text0" presStyleLbl="node1" presStyleIdx="3" presStyleCnt="4">
        <dgm:presLayoutVars>
          <dgm:bulletEnabled val="1"/>
        </dgm:presLayoutVars>
      </dgm:prSet>
      <dgm:spPr/>
    </dgm:pt>
  </dgm:ptLst>
  <dgm:cxnLst>
    <dgm:cxn modelId="{D72BEF11-BC2A-42AB-93ED-050257E57DC9}" srcId="{98440592-245B-45D5-B1BE-BA8E70191A08}" destId="{2ED52171-2C88-4142-AAC3-F936970CABFE}" srcOrd="2" destOrd="0" parTransId="{8481F8B4-1826-40A3-B0B2-19F5483343C1}" sibTransId="{409654F2-EC22-46EE-BE50-931315F3211C}"/>
    <dgm:cxn modelId="{6E492918-8848-4744-B53E-328736949DB9}" srcId="{98440592-245B-45D5-B1BE-BA8E70191A08}" destId="{34E7A03E-9587-45A9-B108-06F17E8EEA73}" srcOrd="1" destOrd="0" parTransId="{07AA1865-6FD6-4B2A-A96A-54A1F204A28C}" sibTransId="{DE303845-F53E-4B8F-A5D3-CDF4EB489C9D}"/>
    <dgm:cxn modelId="{417D3A1F-D6A5-4800-B4A0-C7708131E29F}" type="presOf" srcId="{BDE8E79F-D94B-459C-B43E-67AD7B6AD804}" destId="{5A658DE5-3FAA-4D1C-A326-C47982EB17F9}" srcOrd="0" destOrd="0" presId="urn:microsoft.com/office/officeart/2008/layout/RadialCluster"/>
    <dgm:cxn modelId="{0F577836-6E8B-463C-A0BB-D80EA9B04322}" type="presOf" srcId="{34E7A03E-9587-45A9-B108-06F17E8EEA73}" destId="{B67B0C6F-4F38-4E44-B6D6-EC1E95AB9D3A}" srcOrd="0" destOrd="0" presId="urn:microsoft.com/office/officeart/2008/layout/RadialCluster"/>
    <dgm:cxn modelId="{4A8C6E3B-32A1-4D56-9FC2-49A2DA171712}" type="presOf" srcId="{2ED52171-2C88-4142-AAC3-F936970CABFE}" destId="{46A50B0D-E6C7-4879-A694-FC2073CC99C5}" srcOrd="0" destOrd="0" presId="urn:microsoft.com/office/officeart/2008/layout/RadialCluster"/>
    <dgm:cxn modelId="{7A7D125B-1AA0-4815-B3F5-B30DE8FCCCDD}" type="presOf" srcId="{B48EB562-BEB5-4EEA-BCCA-59D02765748A}" destId="{76C4E86A-16FD-418F-A952-B658DD3FA026}" srcOrd="0" destOrd="0" presId="urn:microsoft.com/office/officeart/2008/layout/RadialCluster"/>
    <dgm:cxn modelId="{138E3E45-BE06-4169-A0A5-4C001C40166D}" type="presOf" srcId="{3B995B90-8146-4D33-9E25-7C90E22EBC57}" destId="{21133DFE-5CF4-409F-A40C-B5E39A591C5F}" srcOrd="0" destOrd="0" presId="urn:microsoft.com/office/officeart/2008/layout/RadialCluster"/>
    <dgm:cxn modelId="{53DE0A4A-ECB9-467A-90EB-D4C01FA23DC9}" type="presOf" srcId="{8481F8B4-1826-40A3-B0B2-19F5483343C1}" destId="{7EBC2A03-E431-4DDA-A4BB-F3E05B1D6EC7}" srcOrd="0" destOrd="0" presId="urn:microsoft.com/office/officeart/2008/layout/RadialCluster"/>
    <dgm:cxn modelId="{8ED9698B-63F5-447E-AC8E-A6BCCE680DC2}" type="presOf" srcId="{98440592-245B-45D5-B1BE-BA8E70191A08}" destId="{88522B0D-4458-4EE6-AB85-922375730E19}" srcOrd="0" destOrd="0" presId="urn:microsoft.com/office/officeart/2008/layout/RadialCluster"/>
    <dgm:cxn modelId="{34B8DD8B-83D3-4558-A355-64F11C9D91D6}" srcId="{98440592-245B-45D5-B1BE-BA8E70191A08}" destId="{3B995B90-8146-4D33-9E25-7C90E22EBC57}" srcOrd="0" destOrd="0" parTransId="{B48EB562-BEB5-4EEA-BCCA-59D02765748A}" sibTransId="{37C472A7-D689-4546-85C1-73EC6F49A855}"/>
    <dgm:cxn modelId="{F908228C-81E6-4A15-A28E-E88175BAC887}" srcId="{BDE8E79F-D94B-459C-B43E-67AD7B6AD804}" destId="{98440592-245B-45D5-B1BE-BA8E70191A08}" srcOrd="0" destOrd="0" parTransId="{5632588A-B07A-4099-9B04-81322904F2F6}" sibTransId="{7C269F0B-063A-45B4-AC18-1E9D9DC554A4}"/>
    <dgm:cxn modelId="{4084C0EB-07B3-4599-A5C0-0E60BA412258}" type="presOf" srcId="{07AA1865-6FD6-4B2A-A96A-54A1F204A28C}" destId="{948AE4D5-C41F-40A7-974C-1AB379B57104}" srcOrd="0" destOrd="0" presId="urn:microsoft.com/office/officeart/2008/layout/RadialCluster"/>
    <dgm:cxn modelId="{0FFFAB1D-DA29-421A-AF46-F41EE4EA4FDE}" type="presParOf" srcId="{5A658DE5-3FAA-4D1C-A326-C47982EB17F9}" destId="{73B43D3F-281E-4F74-AC12-993B985B1391}" srcOrd="0" destOrd="0" presId="urn:microsoft.com/office/officeart/2008/layout/RadialCluster"/>
    <dgm:cxn modelId="{75165912-EC7A-434D-AAE8-3203975ABD8E}" type="presParOf" srcId="{73B43D3F-281E-4F74-AC12-993B985B1391}" destId="{88522B0D-4458-4EE6-AB85-922375730E19}" srcOrd="0" destOrd="0" presId="urn:microsoft.com/office/officeart/2008/layout/RadialCluster"/>
    <dgm:cxn modelId="{514BB9C7-0717-4C8A-A85C-27FC70E57FC3}" type="presParOf" srcId="{73B43D3F-281E-4F74-AC12-993B985B1391}" destId="{76C4E86A-16FD-418F-A952-B658DD3FA026}" srcOrd="1" destOrd="0" presId="urn:microsoft.com/office/officeart/2008/layout/RadialCluster"/>
    <dgm:cxn modelId="{956D2E4D-B16E-4396-8CEB-4904699340AA}" type="presParOf" srcId="{73B43D3F-281E-4F74-AC12-993B985B1391}" destId="{21133DFE-5CF4-409F-A40C-B5E39A591C5F}" srcOrd="2" destOrd="0" presId="urn:microsoft.com/office/officeart/2008/layout/RadialCluster"/>
    <dgm:cxn modelId="{1FD8E4E3-6B81-482C-9105-0747ABF84FE4}" type="presParOf" srcId="{73B43D3F-281E-4F74-AC12-993B985B1391}" destId="{948AE4D5-C41F-40A7-974C-1AB379B57104}" srcOrd="3" destOrd="0" presId="urn:microsoft.com/office/officeart/2008/layout/RadialCluster"/>
    <dgm:cxn modelId="{80D98988-A9A7-4369-90DC-1C9F0C415B88}" type="presParOf" srcId="{73B43D3F-281E-4F74-AC12-993B985B1391}" destId="{B67B0C6F-4F38-4E44-B6D6-EC1E95AB9D3A}" srcOrd="4" destOrd="0" presId="urn:microsoft.com/office/officeart/2008/layout/RadialCluster"/>
    <dgm:cxn modelId="{A498879D-4DB8-4FD0-9BE7-2DB41998DD0C}" type="presParOf" srcId="{73B43D3F-281E-4F74-AC12-993B985B1391}" destId="{7EBC2A03-E431-4DDA-A4BB-F3E05B1D6EC7}" srcOrd="5" destOrd="0" presId="urn:microsoft.com/office/officeart/2008/layout/RadialCluster"/>
    <dgm:cxn modelId="{D75121CC-F5D3-4335-B067-77CAB373E8F3}" type="presParOf" srcId="{73B43D3F-281E-4F74-AC12-993B985B1391}" destId="{46A50B0D-E6C7-4879-A694-FC2073CC99C5}" srcOrd="6" destOrd="0" presId="urn:microsoft.com/office/officeart/2008/layout/RadialCluster"/>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5DD73B-FE9A-4DBD-8718-699686C0C4A5}" type="doc">
      <dgm:prSet loTypeId="urn:microsoft.com/office/officeart/2005/8/layout/arrow2" loCatId="process" qsTypeId="urn:microsoft.com/office/officeart/2005/8/quickstyle/simple1" qsCatId="simple" csTypeId="urn:microsoft.com/office/officeart/2005/8/colors/accent0_2" csCatId="mainScheme" phldr="1"/>
      <dgm:spPr/>
    </dgm:pt>
    <dgm:pt modelId="{09A90B7A-C4DE-4107-99F5-D6BB792FEFEE}">
      <dgm:prSet phldrT="[Text]" custT="1"/>
      <dgm:spPr/>
      <dgm:t>
        <a:bodyPr/>
        <a:lstStyle/>
        <a:p>
          <a:r>
            <a:rPr lang="ar-EG" sz="1400" b="1" dirty="0"/>
            <a:t>محدودية الموارد المائية</a:t>
          </a:r>
          <a:endParaRPr lang="en-US" sz="1400" b="1" dirty="0"/>
        </a:p>
      </dgm:t>
    </dgm:pt>
    <dgm:pt modelId="{D01ABAD0-D9CD-4DE7-B9D4-F690AC7E56D6}" type="parTrans" cxnId="{B1852BA0-DA56-4927-96C5-C484F15F5739}">
      <dgm:prSet/>
      <dgm:spPr/>
      <dgm:t>
        <a:bodyPr/>
        <a:lstStyle/>
        <a:p>
          <a:endParaRPr lang="en-US" sz="1000" b="1"/>
        </a:p>
      </dgm:t>
    </dgm:pt>
    <dgm:pt modelId="{99E29975-D1B9-46F3-9103-02D558503917}" type="sibTrans" cxnId="{B1852BA0-DA56-4927-96C5-C484F15F5739}">
      <dgm:prSet/>
      <dgm:spPr/>
      <dgm:t>
        <a:bodyPr/>
        <a:lstStyle/>
        <a:p>
          <a:endParaRPr lang="en-US" sz="1000" b="1"/>
        </a:p>
      </dgm:t>
    </dgm:pt>
    <dgm:pt modelId="{A276758E-24F2-4C87-9473-5B4B224BEA14}">
      <dgm:prSet phldrT="[Text]" custT="1"/>
      <dgm:spPr/>
      <dgm:t>
        <a:bodyPr/>
        <a:lstStyle/>
        <a:p>
          <a:r>
            <a:rPr lang="ar-EG" sz="1400" b="1" dirty="0"/>
            <a:t>إعادة الاستخدام لمياه الصرف </a:t>
          </a:r>
          <a:endParaRPr lang="en-US" sz="1400" b="1" dirty="0"/>
        </a:p>
      </dgm:t>
    </dgm:pt>
    <dgm:pt modelId="{884715E8-F102-4577-993E-84FD462C8D4B}" type="parTrans" cxnId="{6AA4F63B-C589-4FAF-A3EA-3C2F9CD2EFBE}">
      <dgm:prSet/>
      <dgm:spPr/>
      <dgm:t>
        <a:bodyPr/>
        <a:lstStyle/>
        <a:p>
          <a:endParaRPr lang="en-US" sz="1000" b="1"/>
        </a:p>
      </dgm:t>
    </dgm:pt>
    <dgm:pt modelId="{13868A08-EE4A-485C-AEBD-919A3D28B712}" type="sibTrans" cxnId="{6AA4F63B-C589-4FAF-A3EA-3C2F9CD2EFBE}">
      <dgm:prSet/>
      <dgm:spPr/>
      <dgm:t>
        <a:bodyPr/>
        <a:lstStyle/>
        <a:p>
          <a:endParaRPr lang="en-US" sz="1000" b="1"/>
        </a:p>
      </dgm:t>
    </dgm:pt>
    <dgm:pt modelId="{9D1F0F0E-4AAB-492A-84C6-F7B2EC916DA3}">
      <dgm:prSet phldrT="[Text]" custT="1"/>
      <dgm:spPr/>
      <dgm:t>
        <a:bodyPr/>
        <a:lstStyle/>
        <a:p>
          <a:r>
            <a:rPr lang="ar-EG" sz="1400" b="1" dirty="0"/>
            <a:t>مشروعات حياة كريمة لتغطية الريف المصري بمياه الصرف</a:t>
          </a:r>
          <a:endParaRPr lang="en-US" sz="1400" b="1" dirty="0"/>
        </a:p>
      </dgm:t>
    </dgm:pt>
    <dgm:pt modelId="{A23B8FA9-E0C7-4F59-A07D-61209AFD6658}" type="parTrans" cxnId="{39004B8A-1454-4C94-832E-07AEEA6427CE}">
      <dgm:prSet/>
      <dgm:spPr/>
      <dgm:t>
        <a:bodyPr/>
        <a:lstStyle/>
        <a:p>
          <a:endParaRPr lang="en-US" sz="1000" b="1"/>
        </a:p>
      </dgm:t>
    </dgm:pt>
    <dgm:pt modelId="{7155052B-4448-48B8-8536-0619A55A9442}" type="sibTrans" cxnId="{39004B8A-1454-4C94-832E-07AEEA6427CE}">
      <dgm:prSet/>
      <dgm:spPr/>
      <dgm:t>
        <a:bodyPr/>
        <a:lstStyle/>
        <a:p>
          <a:endParaRPr lang="en-US" sz="1000" b="1"/>
        </a:p>
      </dgm:t>
    </dgm:pt>
    <dgm:pt modelId="{5F235CD2-F8E8-4377-922B-A22253524054}">
      <dgm:prSet phldrT="[Text]" custT="1"/>
      <dgm:spPr/>
      <dgm:t>
        <a:bodyPr/>
        <a:lstStyle/>
        <a:p>
          <a:r>
            <a:rPr lang="ar-EG" sz="1400" b="1" dirty="0"/>
            <a:t>زيادة الحمأة المنتجة الي 4 مليون طن/العام</a:t>
          </a:r>
          <a:endParaRPr lang="en-US" sz="1400" b="1" dirty="0"/>
        </a:p>
      </dgm:t>
    </dgm:pt>
    <dgm:pt modelId="{F75248C5-BB32-4F9A-9933-888AB7EAEC6A}" type="parTrans" cxnId="{AFDA05A9-45CA-4853-94E2-10A1E552263D}">
      <dgm:prSet/>
      <dgm:spPr/>
      <dgm:t>
        <a:bodyPr/>
        <a:lstStyle/>
        <a:p>
          <a:endParaRPr lang="en-US" sz="1000" b="1"/>
        </a:p>
      </dgm:t>
    </dgm:pt>
    <dgm:pt modelId="{4FD9BB2F-B458-43D0-A2ED-3EE2D419590D}" type="sibTrans" cxnId="{AFDA05A9-45CA-4853-94E2-10A1E552263D}">
      <dgm:prSet/>
      <dgm:spPr/>
      <dgm:t>
        <a:bodyPr/>
        <a:lstStyle/>
        <a:p>
          <a:endParaRPr lang="en-US" sz="1000" b="1"/>
        </a:p>
      </dgm:t>
    </dgm:pt>
    <dgm:pt modelId="{A01E3462-8FDA-4F36-B209-AA5506A50F99}" type="pres">
      <dgm:prSet presAssocID="{E95DD73B-FE9A-4DBD-8718-699686C0C4A5}" presName="arrowDiagram" presStyleCnt="0">
        <dgm:presLayoutVars>
          <dgm:chMax val="5"/>
          <dgm:dir/>
          <dgm:resizeHandles val="exact"/>
        </dgm:presLayoutVars>
      </dgm:prSet>
      <dgm:spPr/>
    </dgm:pt>
    <dgm:pt modelId="{4B2A6EF9-AEA1-456A-90F3-C3DFFFACD121}" type="pres">
      <dgm:prSet presAssocID="{E95DD73B-FE9A-4DBD-8718-699686C0C4A5}" presName="arrow" presStyleLbl="bgShp" presStyleIdx="0" presStyleCnt="1"/>
      <dgm:spPr/>
    </dgm:pt>
    <dgm:pt modelId="{67F198D1-53D3-4D24-9C84-9227FD8B49BB}" type="pres">
      <dgm:prSet presAssocID="{E95DD73B-FE9A-4DBD-8718-699686C0C4A5}" presName="arrowDiagram4" presStyleCnt="0"/>
      <dgm:spPr/>
    </dgm:pt>
    <dgm:pt modelId="{AB1535D1-291B-47FD-9E3C-C7FCE4175E84}" type="pres">
      <dgm:prSet presAssocID="{09A90B7A-C4DE-4107-99F5-D6BB792FEFEE}" presName="bullet4a" presStyleLbl="node1" presStyleIdx="0" presStyleCnt="4"/>
      <dgm:spPr/>
    </dgm:pt>
    <dgm:pt modelId="{509DAD1E-76C7-4970-8F63-F6BB4B1434A9}" type="pres">
      <dgm:prSet presAssocID="{09A90B7A-C4DE-4107-99F5-D6BB792FEFEE}" presName="textBox4a" presStyleLbl="revTx" presStyleIdx="0" presStyleCnt="4">
        <dgm:presLayoutVars>
          <dgm:bulletEnabled val="1"/>
        </dgm:presLayoutVars>
      </dgm:prSet>
      <dgm:spPr/>
    </dgm:pt>
    <dgm:pt modelId="{46CD01D8-50B8-4BFF-9369-1A5CA3A678EB}" type="pres">
      <dgm:prSet presAssocID="{A276758E-24F2-4C87-9473-5B4B224BEA14}" presName="bullet4b" presStyleLbl="node1" presStyleIdx="1" presStyleCnt="4"/>
      <dgm:spPr/>
    </dgm:pt>
    <dgm:pt modelId="{99E9C703-7E23-4034-BBBE-8E31413D8E1F}" type="pres">
      <dgm:prSet presAssocID="{A276758E-24F2-4C87-9473-5B4B224BEA14}" presName="textBox4b" presStyleLbl="revTx" presStyleIdx="1" presStyleCnt="4">
        <dgm:presLayoutVars>
          <dgm:bulletEnabled val="1"/>
        </dgm:presLayoutVars>
      </dgm:prSet>
      <dgm:spPr/>
    </dgm:pt>
    <dgm:pt modelId="{9A77F731-F1C4-40DC-BFE9-AF71A21B2B7C}" type="pres">
      <dgm:prSet presAssocID="{9D1F0F0E-4AAB-492A-84C6-F7B2EC916DA3}" presName="bullet4c" presStyleLbl="node1" presStyleIdx="2" presStyleCnt="4"/>
      <dgm:spPr/>
    </dgm:pt>
    <dgm:pt modelId="{82BCD7F0-89E6-4110-8B0C-0B687F8CDB1D}" type="pres">
      <dgm:prSet presAssocID="{9D1F0F0E-4AAB-492A-84C6-F7B2EC916DA3}" presName="textBox4c" presStyleLbl="revTx" presStyleIdx="2" presStyleCnt="4">
        <dgm:presLayoutVars>
          <dgm:bulletEnabled val="1"/>
        </dgm:presLayoutVars>
      </dgm:prSet>
      <dgm:spPr/>
    </dgm:pt>
    <dgm:pt modelId="{6CCFA2C8-FBC7-445D-A840-B1850D2F23C9}" type="pres">
      <dgm:prSet presAssocID="{5F235CD2-F8E8-4377-922B-A22253524054}" presName="bullet4d" presStyleLbl="node1" presStyleIdx="3" presStyleCnt="4"/>
      <dgm:spPr/>
    </dgm:pt>
    <dgm:pt modelId="{F0D7FDDF-EBF1-4DF9-A7E3-67C36F3720C3}" type="pres">
      <dgm:prSet presAssocID="{5F235CD2-F8E8-4377-922B-A22253524054}" presName="textBox4d" presStyleLbl="revTx" presStyleIdx="3" presStyleCnt="4">
        <dgm:presLayoutVars>
          <dgm:bulletEnabled val="1"/>
        </dgm:presLayoutVars>
      </dgm:prSet>
      <dgm:spPr/>
    </dgm:pt>
  </dgm:ptLst>
  <dgm:cxnLst>
    <dgm:cxn modelId="{6AA4F63B-C589-4FAF-A3EA-3C2F9CD2EFBE}" srcId="{E95DD73B-FE9A-4DBD-8718-699686C0C4A5}" destId="{A276758E-24F2-4C87-9473-5B4B224BEA14}" srcOrd="1" destOrd="0" parTransId="{884715E8-F102-4577-993E-84FD462C8D4B}" sibTransId="{13868A08-EE4A-485C-AEBD-919A3D28B712}"/>
    <dgm:cxn modelId="{50B54949-DFD0-47E1-8E2F-F685D9DAE415}" type="presOf" srcId="{9D1F0F0E-4AAB-492A-84C6-F7B2EC916DA3}" destId="{82BCD7F0-89E6-4110-8B0C-0B687F8CDB1D}" srcOrd="0" destOrd="0" presId="urn:microsoft.com/office/officeart/2005/8/layout/arrow2"/>
    <dgm:cxn modelId="{1D1EBE4F-321D-4BD5-A9D6-3296BA57FDD3}" type="presOf" srcId="{A276758E-24F2-4C87-9473-5B4B224BEA14}" destId="{99E9C703-7E23-4034-BBBE-8E31413D8E1F}" srcOrd="0" destOrd="0" presId="urn:microsoft.com/office/officeart/2005/8/layout/arrow2"/>
    <dgm:cxn modelId="{A5AEBF86-4A78-468F-872E-4D55C4C5138B}" type="presOf" srcId="{E95DD73B-FE9A-4DBD-8718-699686C0C4A5}" destId="{A01E3462-8FDA-4F36-B209-AA5506A50F99}" srcOrd="0" destOrd="0" presId="urn:microsoft.com/office/officeart/2005/8/layout/arrow2"/>
    <dgm:cxn modelId="{39004B8A-1454-4C94-832E-07AEEA6427CE}" srcId="{E95DD73B-FE9A-4DBD-8718-699686C0C4A5}" destId="{9D1F0F0E-4AAB-492A-84C6-F7B2EC916DA3}" srcOrd="2" destOrd="0" parTransId="{A23B8FA9-E0C7-4F59-A07D-61209AFD6658}" sibTransId="{7155052B-4448-48B8-8536-0619A55A9442}"/>
    <dgm:cxn modelId="{B1852BA0-DA56-4927-96C5-C484F15F5739}" srcId="{E95DD73B-FE9A-4DBD-8718-699686C0C4A5}" destId="{09A90B7A-C4DE-4107-99F5-D6BB792FEFEE}" srcOrd="0" destOrd="0" parTransId="{D01ABAD0-D9CD-4DE7-B9D4-F690AC7E56D6}" sibTransId="{99E29975-D1B9-46F3-9103-02D558503917}"/>
    <dgm:cxn modelId="{AFDA05A9-45CA-4853-94E2-10A1E552263D}" srcId="{E95DD73B-FE9A-4DBD-8718-699686C0C4A5}" destId="{5F235CD2-F8E8-4377-922B-A22253524054}" srcOrd="3" destOrd="0" parTransId="{F75248C5-BB32-4F9A-9933-888AB7EAEC6A}" sibTransId="{4FD9BB2F-B458-43D0-A2ED-3EE2D419590D}"/>
    <dgm:cxn modelId="{3316E0AA-2BCB-4A3F-B98C-FCE2AAD9CDE8}" type="presOf" srcId="{5F235CD2-F8E8-4377-922B-A22253524054}" destId="{F0D7FDDF-EBF1-4DF9-A7E3-67C36F3720C3}" srcOrd="0" destOrd="0" presId="urn:microsoft.com/office/officeart/2005/8/layout/arrow2"/>
    <dgm:cxn modelId="{FACFD8E4-140F-44E5-8142-698D171EEB95}" type="presOf" srcId="{09A90B7A-C4DE-4107-99F5-D6BB792FEFEE}" destId="{509DAD1E-76C7-4970-8F63-F6BB4B1434A9}" srcOrd="0" destOrd="0" presId="urn:microsoft.com/office/officeart/2005/8/layout/arrow2"/>
    <dgm:cxn modelId="{6BB6EB58-12EF-4E31-AE39-C29644292963}" type="presParOf" srcId="{A01E3462-8FDA-4F36-B209-AA5506A50F99}" destId="{4B2A6EF9-AEA1-456A-90F3-C3DFFFACD121}" srcOrd="0" destOrd="0" presId="urn:microsoft.com/office/officeart/2005/8/layout/arrow2"/>
    <dgm:cxn modelId="{4EFD3428-3A97-42ED-A649-4289BA8828BE}" type="presParOf" srcId="{A01E3462-8FDA-4F36-B209-AA5506A50F99}" destId="{67F198D1-53D3-4D24-9C84-9227FD8B49BB}" srcOrd="1" destOrd="0" presId="urn:microsoft.com/office/officeart/2005/8/layout/arrow2"/>
    <dgm:cxn modelId="{173360EE-59FA-4741-9088-21E5751ABA52}" type="presParOf" srcId="{67F198D1-53D3-4D24-9C84-9227FD8B49BB}" destId="{AB1535D1-291B-47FD-9E3C-C7FCE4175E84}" srcOrd="0" destOrd="0" presId="urn:microsoft.com/office/officeart/2005/8/layout/arrow2"/>
    <dgm:cxn modelId="{5AE54E99-D8D3-45DB-8977-5F0A9FB0446D}" type="presParOf" srcId="{67F198D1-53D3-4D24-9C84-9227FD8B49BB}" destId="{509DAD1E-76C7-4970-8F63-F6BB4B1434A9}" srcOrd="1" destOrd="0" presId="urn:microsoft.com/office/officeart/2005/8/layout/arrow2"/>
    <dgm:cxn modelId="{5A3ADEDD-597F-4273-B020-20DB2580F53D}" type="presParOf" srcId="{67F198D1-53D3-4D24-9C84-9227FD8B49BB}" destId="{46CD01D8-50B8-4BFF-9369-1A5CA3A678EB}" srcOrd="2" destOrd="0" presId="urn:microsoft.com/office/officeart/2005/8/layout/arrow2"/>
    <dgm:cxn modelId="{70879A24-A559-44A0-BCE5-8F76FD8878D9}" type="presParOf" srcId="{67F198D1-53D3-4D24-9C84-9227FD8B49BB}" destId="{99E9C703-7E23-4034-BBBE-8E31413D8E1F}" srcOrd="3" destOrd="0" presId="urn:microsoft.com/office/officeart/2005/8/layout/arrow2"/>
    <dgm:cxn modelId="{49064821-0D51-46D9-99C5-C024E940C699}" type="presParOf" srcId="{67F198D1-53D3-4D24-9C84-9227FD8B49BB}" destId="{9A77F731-F1C4-40DC-BFE9-AF71A21B2B7C}" srcOrd="4" destOrd="0" presId="urn:microsoft.com/office/officeart/2005/8/layout/arrow2"/>
    <dgm:cxn modelId="{BEC8D7D6-7B2D-4B37-8A9F-1DD399DA4E31}" type="presParOf" srcId="{67F198D1-53D3-4D24-9C84-9227FD8B49BB}" destId="{82BCD7F0-89E6-4110-8B0C-0B687F8CDB1D}" srcOrd="5" destOrd="0" presId="urn:microsoft.com/office/officeart/2005/8/layout/arrow2"/>
    <dgm:cxn modelId="{E34D32CF-457C-4E51-BD9E-BEBC645F0C45}" type="presParOf" srcId="{67F198D1-53D3-4D24-9C84-9227FD8B49BB}" destId="{6CCFA2C8-FBC7-445D-A840-B1850D2F23C9}" srcOrd="6" destOrd="0" presId="urn:microsoft.com/office/officeart/2005/8/layout/arrow2"/>
    <dgm:cxn modelId="{12D33974-ED58-4B19-B039-988F5FC0CC59}" type="presParOf" srcId="{67F198D1-53D3-4D24-9C84-9227FD8B49BB}" destId="{F0D7FDDF-EBF1-4DF9-A7E3-67C36F3720C3}"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BA18056-4A11-433B-B562-7A0D15C0A891}" type="doc">
      <dgm:prSet loTypeId="urn:microsoft.com/office/officeart/2005/8/layout/architecture" loCatId="list" qsTypeId="urn:microsoft.com/office/officeart/2005/8/quickstyle/simple1" qsCatId="simple" csTypeId="urn:microsoft.com/office/officeart/2005/8/colors/accent0_3" csCatId="mainScheme" phldr="1"/>
      <dgm:spPr/>
      <dgm:t>
        <a:bodyPr/>
        <a:lstStyle/>
        <a:p>
          <a:endParaRPr lang="en-US"/>
        </a:p>
      </dgm:t>
    </dgm:pt>
    <dgm:pt modelId="{6A44AF05-FC4D-4988-88EC-7FC2AA32D090}">
      <dgm:prSet phldrT="[Text]" custT="1"/>
      <dgm:spPr/>
      <dgm:t>
        <a:bodyPr/>
        <a:lstStyle/>
        <a:p>
          <a:r>
            <a:rPr lang="ar-EG" sz="1600" b="1" dirty="0"/>
            <a:t>بها عوامل ممرضة وروائح كريهة</a:t>
          </a:r>
          <a:endParaRPr lang="en-US" sz="1600" b="1" dirty="0"/>
        </a:p>
      </dgm:t>
    </dgm:pt>
    <dgm:pt modelId="{0DA3E399-124C-431E-85A9-425E76B61007}" type="parTrans" cxnId="{A193A244-0596-4249-94AD-8A38DC945D95}">
      <dgm:prSet/>
      <dgm:spPr/>
      <dgm:t>
        <a:bodyPr/>
        <a:lstStyle/>
        <a:p>
          <a:endParaRPr lang="en-US" sz="2000" b="1"/>
        </a:p>
      </dgm:t>
    </dgm:pt>
    <dgm:pt modelId="{59D13ECA-6B9A-4D00-AF4E-1E3BB98290BC}" type="sibTrans" cxnId="{A193A244-0596-4249-94AD-8A38DC945D95}">
      <dgm:prSet custT="1"/>
      <dgm:spPr/>
      <dgm:t>
        <a:bodyPr/>
        <a:lstStyle/>
        <a:p>
          <a:endParaRPr lang="en-US" sz="4000" b="1"/>
        </a:p>
      </dgm:t>
    </dgm:pt>
    <dgm:pt modelId="{0AE354B3-095B-47FF-B4A9-446E60C3E6A5}">
      <dgm:prSet phldrT="[Text]" custT="1"/>
      <dgm:spPr/>
      <dgm:t>
        <a:bodyPr/>
        <a:lstStyle/>
        <a:p>
          <a:r>
            <a:rPr lang="ar-EG" sz="1600" b="1" dirty="0">
              <a:effectLst/>
              <a:latin typeface="Calibri" panose="020F0502020204030204" pitchFamily="34" charset="0"/>
              <a:ea typeface="Calibri" panose="020F0502020204030204" pitchFamily="34" charset="0"/>
              <a:cs typeface="Calibri" panose="020F0502020204030204" pitchFamily="34" charset="0"/>
            </a:rPr>
            <a:t>لا يمكن استعمال الحمأة المكثفة مباشرة كسماد (تلوث غذائي)</a:t>
          </a:r>
          <a:endParaRPr lang="en-US" sz="1600" b="1" dirty="0"/>
        </a:p>
      </dgm:t>
    </dgm:pt>
    <dgm:pt modelId="{59E5D458-2FA8-4A5D-BEC4-6501E2501796}" type="parTrans" cxnId="{F6249162-E87B-4ED4-9CF9-D32F051DB0A2}">
      <dgm:prSet/>
      <dgm:spPr/>
      <dgm:t>
        <a:bodyPr/>
        <a:lstStyle/>
        <a:p>
          <a:endParaRPr lang="en-US" sz="2000" b="1"/>
        </a:p>
      </dgm:t>
    </dgm:pt>
    <dgm:pt modelId="{42355154-6B13-4D99-9BB0-E0E9B824DC8E}" type="sibTrans" cxnId="{F6249162-E87B-4ED4-9CF9-D32F051DB0A2}">
      <dgm:prSet/>
      <dgm:spPr/>
      <dgm:t>
        <a:bodyPr/>
        <a:lstStyle/>
        <a:p>
          <a:endParaRPr lang="en-US" sz="2000" b="1"/>
        </a:p>
      </dgm:t>
    </dgm:pt>
    <dgm:pt modelId="{F150C498-4881-4768-A9EA-1381993E0627}">
      <dgm:prSet phldrT="[Text]" custT="1"/>
      <dgm:spPr/>
      <dgm:t>
        <a:bodyPr/>
        <a:lstStyle/>
        <a:p>
          <a:r>
            <a:rPr lang="ar-EG" sz="1400" b="1" dirty="0">
              <a:effectLst/>
              <a:latin typeface="Calibri" panose="020F0502020204030204" pitchFamily="34" charset="0"/>
              <a:ea typeface="Calibri" panose="020F0502020204030204" pitchFamily="34" charset="0"/>
              <a:cs typeface="Calibri" panose="020F0502020204030204" pitchFamily="34" charset="0"/>
            </a:rPr>
            <a:t>تحتوي الحمأة في بعض الأحيان علي عناصر ثقيلة </a:t>
          </a:r>
          <a:endParaRPr lang="en-US" sz="1400" b="1" dirty="0"/>
        </a:p>
      </dgm:t>
    </dgm:pt>
    <dgm:pt modelId="{615C5220-601E-427D-BE5B-F69AC8E0A16F}" type="parTrans" cxnId="{596D4BB9-A535-4F68-9128-1ADD0776CA1C}">
      <dgm:prSet/>
      <dgm:spPr/>
      <dgm:t>
        <a:bodyPr/>
        <a:lstStyle/>
        <a:p>
          <a:endParaRPr lang="en-US" sz="2000" b="1"/>
        </a:p>
      </dgm:t>
    </dgm:pt>
    <dgm:pt modelId="{E7B42FB2-E2D0-436F-BCDD-7F793953482B}" type="sibTrans" cxnId="{596D4BB9-A535-4F68-9128-1ADD0776CA1C}">
      <dgm:prSet custT="1"/>
      <dgm:spPr/>
      <dgm:t>
        <a:bodyPr/>
        <a:lstStyle/>
        <a:p>
          <a:endParaRPr lang="en-US" sz="4000" b="1"/>
        </a:p>
      </dgm:t>
    </dgm:pt>
    <dgm:pt modelId="{0A54277F-7C4C-472B-9C7A-F64317D93ED2}">
      <dgm:prSet phldrT="[Text]" custT="1"/>
      <dgm:spPr/>
      <dgm:t>
        <a:bodyPr/>
        <a:lstStyle/>
        <a:p>
          <a:r>
            <a:rPr lang="ar-EG" sz="1600" b="1" dirty="0">
              <a:effectLst/>
              <a:latin typeface="Calibri" panose="020F0502020204030204" pitchFamily="34" charset="0"/>
              <a:ea typeface="Calibri" panose="020F0502020204030204" pitchFamily="34" charset="0"/>
              <a:cs typeface="Calibri" panose="020F0502020204030204" pitchFamily="34" charset="0"/>
            </a:rPr>
            <a:t>تراكم الحمأة في المحطات وعدم سحبها يؤدي الي تعطل منظومات المعالجة (التأثير علي الاستثمارات)</a:t>
          </a:r>
          <a:endParaRPr lang="en-US" sz="1600" b="1" dirty="0"/>
        </a:p>
      </dgm:t>
    </dgm:pt>
    <dgm:pt modelId="{8D1264D5-12DF-4D1F-B73D-456937166854}" type="parTrans" cxnId="{50110789-5A45-4BDE-887A-7DF754CA6596}">
      <dgm:prSet/>
      <dgm:spPr/>
      <dgm:t>
        <a:bodyPr/>
        <a:lstStyle/>
        <a:p>
          <a:endParaRPr lang="en-US" sz="2000" b="1"/>
        </a:p>
      </dgm:t>
    </dgm:pt>
    <dgm:pt modelId="{51D25B24-1CE2-465C-BB25-C563B5A72856}" type="sibTrans" cxnId="{50110789-5A45-4BDE-887A-7DF754CA6596}">
      <dgm:prSet/>
      <dgm:spPr/>
      <dgm:t>
        <a:bodyPr/>
        <a:lstStyle/>
        <a:p>
          <a:endParaRPr lang="en-US" sz="2000" b="1"/>
        </a:p>
      </dgm:t>
    </dgm:pt>
    <dgm:pt modelId="{4AB0B19B-C1E7-42B4-8177-D5C54F7D68E0}">
      <dgm:prSet phldrT="[Text]" custT="1"/>
      <dgm:spPr/>
      <dgm:t>
        <a:bodyPr/>
        <a:lstStyle/>
        <a:p>
          <a:pPr>
            <a:buFont typeface="Symbol" panose="05050102010706020507" pitchFamily="18" charset="2"/>
            <a:buChar char=""/>
          </a:pPr>
          <a:r>
            <a:rPr lang="ar-EG"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تؤدي الي تلوث المجاري المائية بمتبقيات البلاستيك الدقيقة )</a:t>
          </a:r>
          <a:r>
            <a:rPr lang="en-US"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Microplastics</a:t>
          </a:r>
          <a:r>
            <a:rPr lang="ar-EG"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a:t>
          </a:r>
          <a:endParaRPr lang="en-US"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endParaRPr>
        </a:p>
      </dgm:t>
    </dgm:pt>
    <dgm:pt modelId="{30C2E8D9-E72A-47DA-BC28-103C5FD21BC4}" type="parTrans" cxnId="{668F1601-1F5D-4867-ACBE-43018F05D26D}">
      <dgm:prSet/>
      <dgm:spPr/>
      <dgm:t>
        <a:bodyPr/>
        <a:lstStyle/>
        <a:p>
          <a:endParaRPr lang="en-US" sz="2000" b="1"/>
        </a:p>
      </dgm:t>
    </dgm:pt>
    <dgm:pt modelId="{C5CD50FA-DD9F-416B-A234-3F8C5E894603}" type="sibTrans" cxnId="{668F1601-1F5D-4867-ACBE-43018F05D26D}">
      <dgm:prSet custT="1"/>
      <dgm:spPr/>
      <dgm:t>
        <a:bodyPr/>
        <a:lstStyle/>
        <a:p>
          <a:endParaRPr lang="en-US" sz="4000" b="1"/>
        </a:p>
      </dgm:t>
    </dgm:pt>
    <dgm:pt modelId="{CF5E0FE7-4CB8-423E-9D7C-3670617583CE}">
      <dgm:prSet phldrT="[Text]" custT="1"/>
      <dgm:spPr/>
      <dgm:t>
        <a:bodyPr/>
        <a:lstStyle/>
        <a:p>
          <a:r>
            <a:rPr lang="ar-EG" sz="1600" b="1" kern="1200" dirty="0">
              <a:effectLst/>
              <a:latin typeface="Calibri" panose="020F0502020204030204" pitchFamily="34" charset="0"/>
              <a:ea typeface="Calibri" panose="020F0502020204030204" pitchFamily="34" charset="0"/>
              <a:cs typeface="Calibri" panose="020F0502020204030204" pitchFamily="34" charset="0"/>
            </a:rPr>
            <a:t>تقليل فرص إعادة الاستخدام الامن (انبعاث غازات دفيئة) </a:t>
          </a:r>
          <a:endParaRPr lang="en-US" sz="1600" b="1" kern="1200" dirty="0">
            <a:effectLst/>
            <a:latin typeface="Calibri" panose="020F0502020204030204" pitchFamily="34" charset="0"/>
            <a:ea typeface="Calibri" panose="020F0502020204030204" pitchFamily="34" charset="0"/>
            <a:cs typeface="Calibri" panose="020F0502020204030204" pitchFamily="34" charset="0"/>
          </a:endParaRPr>
        </a:p>
      </dgm:t>
    </dgm:pt>
    <dgm:pt modelId="{FCCFE0D1-A93E-40DB-99D4-61D8FBD427F8}" type="parTrans" cxnId="{B3EB368E-D1E1-42B7-A0DC-F63365C4AC1F}">
      <dgm:prSet/>
      <dgm:spPr/>
      <dgm:t>
        <a:bodyPr/>
        <a:lstStyle/>
        <a:p>
          <a:endParaRPr lang="en-US" sz="2000" b="1"/>
        </a:p>
      </dgm:t>
    </dgm:pt>
    <dgm:pt modelId="{5068DE3F-FDE4-4079-B346-B781528E6771}" type="sibTrans" cxnId="{B3EB368E-D1E1-42B7-A0DC-F63365C4AC1F}">
      <dgm:prSet/>
      <dgm:spPr/>
      <dgm:t>
        <a:bodyPr/>
        <a:lstStyle/>
        <a:p>
          <a:endParaRPr lang="en-US" sz="2000" b="1"/>
        </a:p>
      </dgm:t>
    </dgm:pt>
    <dgm:pt modelId="{9F98CFF0-16E2-4DC2-9C9B-0B44ABE82F07}" type="pres">
      <dgm:prSet presAssocID="{CBA18056-4A11-433B-B562-7A0D15C0A891}" presName="Name0" presStyleCnt="0">
        <dgm:presLayoutVars>
          <dgm:chPref val="1"/>
          <dgm:dir/>
          <dgm:animOne val="branch"/>
          <dgm:animLvl val="lvl"/>
          <dgm:resizeHandles/>
        </dgm:presLayoutVars>
      </dgm:prSet>
      <dgm:spPr/>
    </dgm:pt>
    <dgm:pt modelId="{F8C4A877-6CCF-448F-8185-081C92C440F6}" type="pres">
      <dgm:prSet presAssocID="{6A44AF05-FC4D-4988-88EC-7FC2AA32D090}" presName="vertOne" presStyleCnt="0"/>
      <dgm:spPr/>
    </dgm:pt>
    <dgm:pt modelId="{F511C229-44BD-48C7-B0F7-9AA07E0C3CD2}" type="pres">
      <dgm:prSet presAssocID="{6A44AF05-FC4D-4988-88EC-7FC2AA32D090}" presName="txOne" presStyleLbl="node0" presStyleIdx="0" presStyleCnt="3">
        <dgm:presLayoutVars>
          <dgm:chPref val="3"/>
        </dgm:presLayoutVars>
      </dgm:prSet>
      <dgm:spPr/>
    </dgm:pt>
    <dgm:pt modelId="{63534B34-CF58-42CE-B059-35C99CDECEE2}" type="pres">
      <dgm:prSet presAssocID="{6A44AF05-FC4D-4988-88EC-7FC2AA32D090}" presName="parTransOne" presStyleCnt="0"/>
      <dgm:spPr/>
    </dgm:pt>
    <dgm:pt modelId="{F433819F-C37C-464E-8D15-D37737E2A358}" type="pres">
      <dgm:prSet presAssocID="{6A44AF05-FC4D-4988-88EC-7FC2AA32D090}" presName="horzOne" presStyleCnt="0"/>
      <dgm:spPr/>
    </dgm:pt>
    <dgm:pt modelId="{9260855A-2EB5-477D-B4EB-5E509E6531ED}" type="pres">
      <dgm:prSet presAssocID="{0AE354B3-095B-47FF-B4A9-446E60C3E6A5}" presName="vertTwo" presStyleCnt="0"/>
      <dgm:spPr/>
    </dgm:pt>
    <dgm:pt modelId="{A43E7D62-F0EC-4E5D-AF14-35083F27A022}" type="pres">
      <dgm:prSet presAssocID="{0AE354B3-095B-47FF-B4A9-446E60C3E6A5}" presName="txTwo" presStyleLbl="node2" presStyleIdx="0" presStyleCnt="3">
        <dgm:presLayoutVars>
          <dgm:chPref val="3"/>
        </dgm:presLayoutVars>
      </dgm:prSet>
      <dgm:spPr/>
    </dgm:pt>
    <dgm:pt modelId="{F837ECBC-5209-44AE-B130-586CC1C37B93}" type="pres">
      <dgm:prSet presAssocID="{0AE354B3-095B-47FF-B4A9-446E60C3E6A5}" presName="horzTwo" presStyleCnt="0"/>
      <dgm:spPr/>
    </dgm:pt>
    <dgm:pt modelId="{0F1C32BC-BF4F-4F65-8B3D-44F12F621318}" type="pres">
      <dgm:prSet presAssocID="{59D13ECA-6B9A-4D00-AF4E-1E3BB98290BC}" presName="sibSpaceOne" presStyleCnt="0"/>
      <dgm:spPr/>
    </dgm:pt>
    <dgm:pt modelId="{AC96FBCC-1EAC-4053-BA1B-E6449D24D389}" type="pres">
      <dgm:prSet presAssocID="{F150C498-4881-4768-A9EA-1381993E0627}" presName="vertOne" presStyleCnt="0"/>
      <dgm:spPr/>
    </dgm:pt>
    <dgm:pt modelId="{DDBC9279-2F74-4FB3-B836-4518BDB76E65}" type="pres">
      <dgm:prSet presAssocID="{F150C498-4881-4768-A9EA-1381993E0627}" presName="txOne" presStyleLbl="node0" presStyleIdx="1" presStyleCnt="3">
        <dgm:presLayoutVars>
          <dgm:chPref val="3"/>
        </dgm:presLayoutVars>
      </dgm:prSet>
      <dgm:spPr/>
    </dgm:pt>
    <dgm:pt modelId="{229E1FE4-873F-4588-9260-9191AC6C4C46}" type="pres">
      <dgm:prSet presAssocID="{F150C498-4881-4768-A9EA-1381993E0627}" presName="parTransOne" presStyleCnt="0"/>
      <dgm:spPr/>
    </dgm:pt>
    <dgm:pt modelId="{11A8677F-0581-47E8-B941-5012869F8805}" type="pres">
      <dgm:prSet presAssocID="{F150C498-4881-4768-A9EA-1381993E0627}" presName="horzOne" presStyleCnt="0"/>
      <dgm:spPr/>
    </dgm:pt>
    <dgm:pt modelId="{C5A95F11-D8B5-48F3-A52A-0C3A68973BBB}" type="pres">
      <dgm:prSet presAssocID="{0A54277F-7C4C-472B-9C7A-F64317D93ED2}" presName="vertTwo" presStyleCnt="0"/>
      <dgm:spPr/>
    </dgm:pt>
    <dgm:pt modelId="{2F1E362F-63F1-4318-B7D0-8D060694BBC3}" type="pres">
      <dgm:prSet presAssocID="{0A54277F-7C4C-472B-9C7A-F64317D93ED2}" presName="txTwo" presStyleLbl="node2" presStyleIdx="1" presStyleCnt="3">
        <dgm:presLayoutVars>
          <dgm:chPref val="3"/>
        </dgm:presLayoutVars>
      </dgm:prSet>
      <dgm:spPr/>
    </dgm:pt>
    <dgm:pt modelId="{6012CD49-A89D-426B-9B2E-E052521014B3}" type="pres">
      <dgm:prSet presAssocID="{0A54277F-7C4C-472B-9C7A-F64317D93ED2}" presName="horzTwo" presStyleCnt="0"/>
      <dgm:spPr/>
    </dgm:pt>
    <dgm:pt modelId="{12AC2D38-ABED-46B6-8656-7E8368F383AA}" type="pres">
      <dgm:prSet presAssocID="{E7B42FB2-E2D0-436F-BCDD-7F793953482B}" presName="sibSpaceOne" presStyleCnt="0"/>
      <dgm:spPr/>
    </dgm:pt>
    <dgm:pt modelId="{9124C974-6C99-410B-A222-16712A90F1E2}" type="pres">
      <dgm:prSet presAssocID="{4AB0B19B-C1E7-42B4-8177-D5C54F7D68E0}" presName="vertOne" presStyleCnt="0"/>
      <dgm:spPr/>
    </dgm:pt>
    <dgm:pt modelId="{1F48037B-D781-4C50-AA19-D93F829974DE}" type="pres">
      <dgm:prSet presAssocID="{4AB0B19B-C1E7-42B4-8177-D5C54F7D68E0}" presName="txOne" presStyleLbl="node0" presStyleIdx="2" presStyleCnt="3">
        <dgm:presLayoutVars>
          <dgm:chPref val="3"/>
        </dgm:presLayoutVars>
      </dgm:prSet>
      <dgm:spPr/>
    </dgm:pt>
    <dgm:pt modelId="{689FB2E6-E2A0-41A7-A104-7AB36A4D6B97}" type="pres">
      <dgm:prSet presAssocID="{4AB0B19B-C1E7-42B4-8177-D5C54F7D68E0}" presName="parTransOne" presStyleCnt="0"/>
      <dgm:spPr/>
    </dgm:pt>
    <dgm:pt modelId="{6DA2C745-FBFD-4118-AA56-96CB05EB2C53}" type="pres">
      <dgm:prSet presAssocID="{4AB0B19B-C1E7-42B4-8177-D5C54F7D68E0}" presName="horzOne" presStyleCnt="0"/>
      <dgm:spPr/>
    </dgm:pt>
    <dgm:pt modelId="{1F76AEDF-1FC9-4558-B193-5AA9726FE8A5}" type="pres">
      <dgm:prSet presAssocID="{CF5E0FE7-4CB8-423E-9D7C-3670617583CE}" presName="vertTwo" presStyleCnt="0"/>
      <dgm:spPr/>
    </dgm:pt>
    <dgm:pt modelId="{08036BB4-20F6-489B-B4C5-107BFA719921}" type="pres">
      <dgm:prSet presAssocID="{CF5E0FE7-4CB8-423E-9D7C-3670617583CE}" presName="txTwo" presStyleLbl="node2" presStyleIdx="2" presStyleCnt="3">
        <dgm:presLayoutVars>
          <dgm:chPref val="3"/>
        </dgm:presLayoutVars>
      </dgm:prSet>
      <dgm:spPr/>
    </dgm:pt>
    <dgm:pt modelId="{59EC424E-C073-42C8-9786-5623426018CB}" type="pres">
      <dgm:prSet presAssocID="{CF5E0FE7-4CB8-423E-9D7C-3670617583CE}" presName="horzTwo" presStyleCnt="0"/>
      <dgm:spPr/>
    </dgm:pt>
  </dgm:ptLst>
  <dgm:cxnLst>
    <dgm:cxn modelId="{668F1601-1F5D-4867-ACBE-43018F05D26D}" srcId="{CBA18056-4A11-433B-B562-7A0D15C0A891}" destId="{4AB0B19B-C1E7-42B4-8177-D5C54F7D68E0}" srcOrd="2" destOrd="0" parTransId="{30C2E8D9-E72A-47DA-BC28-103C5FD21BC4}" sibTransId="{C5CD50FA-DD9F-416B-A234-3F8C5E894603}"/>
    <dgm:cxn modelId="{59035D32-0564-4E16-A03D-74656993818E}" type="presOf" srcId="{6A44AF05-FC4D-4988-88EC-7FC2AA32D090}" destId="{F511C229-44BD-48C7-B0F7-9AA07E0C3CD2}" srcOrd="0" destOrd="0" presId="urn:microsoft.com/office/officeart/2005/8/layout/architecture"/>
    <dgm:cxn modelId="{F6249162-E87B-4ED4-9CF9-D32F051DB0A2}" srcId="{6A44AF05-FC4D-4988-88EC-7FC2AA32D090}" destId="{0AE354B3-095B-47FF-B4A9-446E60C3E6A5}" srcOrd="0" destOrd="0" parTransId="{59E5D458-2FA8-4A5D-BEC4-6501E2501796}" sibTransId="{42355154-6B13-4D99-9BB0-E0E9B824DC8E}"/>
    <dgm:cxn modelId="{A193A244-0596-4249-94AD-8A38DC945D95}" srcId="{CBA18056-4A11-433B-B562-7A0D15C0A891}" destId="{6A44AF05-FC4D-4988-88EC-7FC2AA32D090}" srcOrd="0" destOrd="0" parTransId="{0DA3E399-124C-431E-85A9-425E76B61007}" sibTransId="{59D13ECA-6B9A-4D00-AF4E-1E3BB98290BC}"/>
    <dgm:cxn modelId="{1DC07247-B36C-46BA-A211-5C4CFD0DB1A0}" type="presOf" srcId="{0AE354B3-095B-47FF-B4A9-446E60C3E6A5}" destId="{A43E7D62-F0EC-4E5D-AF14-35083F27A022}" srcOrd="0" destOrd="0" presId="urn:microsoft.com/office/officeart/2005/8/layout/architecture"/>
    <dgm:cxn modelId="{5E62E16B-CE7D-4603-9D80-8F6D802DB2E3}" type="presOf" srcId="{CBA18056-4A11-433B-B562-7A0D15C0A891}" destId="{9F98CFF0-16E2-4DC2-9C9B-0B44ABE82F07}" srcOrd="0" destOrd="0" presId="urn:microsoft.com/office/officeart/2005/8/layout/architecture"/>
    <dgm:cxn modelId="{59DC007F-50C9-41E0-95C0-D04C82761F1E}" type="presOf" srcId="{4AB0B19B-C1E7-42B4-8177-D5C54F7D68E0}" destId="{1F48037B-D781-4C50-AA19-D93F829974DE}" srcOrd="0" destOrd="0" presId="urn:microsoft.com/office/officeart/2005/8/layout/architecture"/>
    <dgm:cxn modelId="{50110789-5A45-4BDE-887A-7DF754CA6596}" srcId="{F150C498-4881-4768-A9EA-1381993E0627}" destId="{0A54277F-7C4C-472B-9C7A-F64317D93ED2}" srcOrd="0" destOrd="0" parTransId="{8D1264D5-12DF-4D1F-B73D-456937166854}" sibTransId="{51D25B24-1CE2-465C-BB25-C563B5A72856}"/>
    <dgm:cxn modelId="{B3EB368E-D1E1-42B7-A0DC-F63365C4AC1F}" srcId="{4AB0B19B-C1E7-42B4-8177-D5C54F7D68E0}" destId="{CF5E0FE7-4CB8-423E-9D7C-3670617583CE}" srcOrd="0" destOrd="0" parTransId="{FCCFE0D1-A93E-40DB-99D4-61D8FBD427F8}" sibTransId="{5068DE3F-FDE4-4079-B346-B781528E6771}"/>
    <dgm:cxn modelId="{596D4BB9-A535-4F68-9128-1ADD0776CA1C}" srcId="{CBA18056-4A11-433B-B562-7A0D15C0A891}" destId="{F150C498-4881-4768-A9EA-1381993E0627}" srcOrd="1" destOrd="0" parTransId="{615C5220-601E-427D-BE5B-F69AC8E0A16F}" sibTransId="{E7B42FB2-E2D0-436F-BCDD-7F793953482B}"/>
    <dgm:cxn modelId="{41C936D0-F25B-436C-84B3-22BADDA8F207}" type="presOf" srcId="{0A54277F-7C4C-472B-9C7A-F64317D93ED2}" destId="{2F1E362F-63F1-4318-B7D0-8D060694BBC3}" srcOrd="0" destOrd="0" presId="urn:microsoft.com/office/officeart/2005/8/layout/architecture"/>
    <dgm:cxn modelId="{9AF347DD-7795-43C0-8D44-90796A435CA8}" type="presOf" srcId="{F150C498-4881-4768-A9EA-1381993E0627}" destId="{DDBC9279-2F74-4FB3-B836-4518BDB76E65}" srcOrd="0" destOrd="0" presId="urn:microsoft.com/office/officeart/2005/8/layout/architecture"/>
    <dgm:cxn modelId="{263271E7-A8EA-4405-AF9E-8E8C0B39964D}" type="presOf" srcId="{CF5E0FE7-4CB8-423E-9D7C-3670617583CE}" destId="{08036BB4-20F6-489B-B4C5-107BFA719921}" srcOrd="0" destOrd="0" presId="urn:microsoft.com/office/officeart/2005/8/layout/architecture"/>
    <dgm:cxn modelId="{8F01F986-338E-4894-B6C0-5996522ED9C2}" type="presParOf" srcId="{9F98CFF0-16E2-4DC2-9C9B-0B44ABE82F07}" destId="{F8C4A877-6CCF-448F-8185-081C92C440F6}" srcOrd="0" destOrd="0" presId="urn:microsoft.com/office/officeart/2005/8/layout/architecture"/>
    <dgm:cxn modelId="{B6DD92C4-2F62-451E-86CE-85A42F9704DE}" type="presParOf" srcId="{F8C4A877-6CCF-448F-8185-081C92C440F6}" destId="{F511C229-44BD-48C7-B0F7-9AA07E0C3CD2}" srcOrd="0" destOrd="0" presId="urn:microsoft.com/office/officeart/2005/8/layout/architecture"/>
    <dgm:cxn modelId="{D18EDB98-3F2B-4DB6-8A2F-553D4B25B34B}" type="presParOf" srcId="{F8C4A877-6CCF-448F-8185-081C92C440F6}" destId="{63534B34-CF58-42CE-B059-35C99CDECEE2}" srcOrd="1" destOrd="0" presId="urn:microsoft.com/office/officeart/2005/8/layout/architecture"/>
    <dgm:cxn modelId="{759A3F55-F098-4EF3-AB47-49F04721F950}" type="presParOf" srcId="{F8C4A877-6CCF-448F-8185-081C92C440F6}" destId="{F433819F-C37C-464E-8D15-D37737E2A358}" srcOrd="2" destOrd="0" presId="urn:microsoft.com/office/officeart/2005/8/layout/architecture"/>
    <dgm:cxn modelId="{F40AAAE8-E5FA-4BEB-8313-C1C50323DC3D}" type="presParOf" srcId="{F433819F-C37C-464E-8D15-D37737E2A358}" destId="{9260855A-2EB5-477D-B4EB-5E509E6531ED}" srcOrd="0" destOrd="0" presId="urn:microsoft.com/office/officeart/2005/8/layout/architecture"/>
    <dgm:cxn modelId="{589580A0-8BCE-4777-BA43-A9A8B3964035}" type="presParOf" srcId="{9260855A-2EB5-477D-B4EB-5E509E6531ED}" destId="{A43E7D62-F0EC-4E5D-AF14-35083F27A022}" srcOrd="0" destOrd="0" presId="urn:microsoft.com/office/officeart/2005/8/layout/architecture"/>
    <dgm:cxn modelId="{27BC74C6-AF5B-4322-94DA-E78745D42953}" type="presParOf" srcId="{9260855A-2EB5-477D-B4EB-5E509E6531ED}" destId="{F837ECBC-5209-44AE-B130-586CC1C37B93}" srcOrd="1" destOrd="0" presId="urn:microsoft.com/office/officeart/2005/8/layout/architecture"/>
    <dgm:cxn modelId="{DC3AEC49-1551-4F1A-BC51-5FC9AD302ECE}" type="presParOf" srcId="{9F98CFF0-16E2-4DC2-9C9B-0B44ABE82F07}" destId="{0F1C32BC-BF4F-4F65-8B3D-44F12F621318}" srcOrd="1" destOrd="0" presId="urn:microsoft.com/office/officeart/2005/8/layout/architecture"/>
    <dgm:cxn modelId="{E787F841-CC4D-4551-8412-71A886543938}" type="presParOf" srcId="{9F98CFF0-16E2-4DC2-9C9B-0B44ABE82F07}" destId="{AC96FBCC-1EAC-4053-BA1B-E6449D24D389}" srcOrd="2" destOrd="0" presId="urn:microsoft.com/office/officeart/2005/8/layout/architecture"/>
    <dgm:cxn modelId="{CB4DB164-B810-428C-8A23-17356A6ADFF4}" type="presParOf" srcId="{AC96FBCC-1EAC-4053-BA1B-E6449D24D389}" destId="{DDBC9279-2F74-4FB3-B836-4518BDB76E65}" srcOrd="0" destOrd="0" presId="urn:microsoft.com/office/officeart/2005/8/layout/architecture"/>
    <dgm:cxn modelId="{35797C19-DE41-4937-9D21-17144218236B}" type="presParOf" srcId="{AC96FBCC-1EAC-4053-BA1B-E6449D24D389}" destId="{229E1FE4-873F-4588-9260-9191AC6C4C46}" srcOrd="1" destOrd="0" presId="urn:microsoft.com/office/officeart/2005/8/layout/architecture"/>
    <dgm:cxn modelId="{155427E1-FF40-44E8-B232-DF7C4EAA739C}" type="presParOf" srcId="{AC96FBCC-1EAC-4053-BA1B-E6449D24D389}" destId="{11A8677F-0581-47E8-B941-5012869F8805}" srcOrd="2" destOrd="0" presId="urn:microsoft.com/office/officeart/2005/8/layout/architecture"/>
    <dgm:cxn modelId="{D7301747-538E-4BAB-8951-16E56185980B}" type="presParOf" srcId="{11A8677F-0581-47E8-B941-5012869F8805}" destId="{C5A95F11-D8B5-48F3-A52A-0C3A68973BBB}" srcOrd="0" destOrd="0" presId="urn:microsoft.com/office/officeart/2005/8/layout/architecture"/>
    <dgm:cxn modelId="{23053997-74CD-4CFD-8B5A-03A02D468BBC}" type="presParOf" srcId="{C5A95F11-D8B5-48F3-A52A-0C3A68973BBB}" destId="{2F1E362F-63F1-4318-B7D0-8D060694BBC3}" srcOrd="0" destOrd="0" presId="urn:microsoft.com/office/officeart/2005/8/layout/architecture"/>
    <dgm:cxn modelId="{F84D2367-263D-42C2-824D-F9F66D14FFB6}" type="presParOf" srcId="{C5A95F11-D8B5-48F3-A52A-0C3A68973BBB}" destId="{6012CD49-A89D-426B-9B2E-E052521014B3}" srcOrd="1" destOrd="0" presId="urn:microsoft.com/office/officeart/2005/8/layout/architecture"/>
    <dgm:cxn modelId="{908F1DA2-9BE9-43B1-903E-92ADE408C225}" type="presParOf" srcId="{9F98CFF0-16E2-4DC2-9C9B-0B44ABE82F07}" destId="{12AC2D38-ABED-46B6-8656-7E8368F383AA}" srcOrd="3" destOrd="0" presId="urn:microsoft.com/office/officeart/2005/8/layout/architecture"/>
    <dgm:cxn modelId="{603EFCB4-4D98-4A3A-9A12-7B48BD17DAE7}" type="presParOf" srcId="{9F98CFF0-16E2-4DC2-9C9B-0B44ABE82F07}" destId="{9124C974-6C99-410B-A222-16712A90F1E2}" srcOrd="4" destOrd="0" presId="urn:microsoft.com/office/officeart/2005/8/layout/architecture"/>
    <dgm:cxn modelId="{6F1101CB-6024-453F-84E6-934EB16609CC}" type="presParOf" srcId="{9124C974-6C99-410B-A222-16712A90F1E2}" destId="{1F48037B-D781-4C50-AA19-D93F829974DE}" srcOrd="0" destOrd="0" presId="urn:microsoft.com/office/officeart/2005/8/layout/architecture"/>
    <dgm:cxn modelId="{37536344-A9F1-46B9-8D69-D00FC4D544C6}" type="presParOf" srcId="{9124C974-6C99-410B-A222-16712A90F1E2}" destId="{689FB2E6-E2A0-41A7-A104-7AB36A4D6B97}" srcOrd="1" destOrd="0" presId="urn:microsoft.com/office/officeart/2005/8/layout/architecture"/>
    <dgm:cxn modelId="{422D4E9C-3623-4214-A55A-4E351957A780}" type="presParOf" srcId="{9124C974-6C99-410B-A222-16712A90F1E2}" destId="{6DA2C745-FBFD-4118-AA56-96CB05EB2C53}" srcOrd="2" destOrd="0" presId="urn:microsoft.com/office/officeart/2005/8/layout/architecture"/>
    <dgm:cxn modelId="{E42990FA-C9CB-4BBC-8922-7CEDEDCEE250}" type="presParOf" srcId="{6DA2C745-FBFD-4118-AA56-96CB05EB2C53}" destId="{1F76AEDF-1FC9-4558-B193-5AA9726FE8A5}" srcOrd="0" destOrd="0" presId="urn:microsoft.com/office/officeart/2005/8/layout/architecture"/>
    <dgm:cxn modelId="{AE9B99B8-FB17-42C1-9670-F64C0501F327}" type="presParOf" srcId="{1F76AEDF-1FC9-4558-B193-5AA9726FE8A5}" destId="{08036BB4-20F6-489B-B4C5-107BFA719921}" srcOrd="0" destOrd="0" presId="urn:microsoft.com/office/officeart/2005/8/layout/architecture"/>
    <dgm:cxn modelId="{334EEA63-A267-4190-94DD-BEB159E7FFB4}" type="presParOf" srcId="{1F76AEDF-1FC9-4558-B193-5AA9726FE8A5}" destId="{59EC424E-C073-42C8-9786-5623426018CB}" srcOrd="1" destOrd="0" presId="urn:microsoft.com/office/officeart/2005/8/layout/architecture"/>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95E9E2E-1AC1-4AE1-84F5-CA27C9E9AF5D}"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662EB6AE-3D41-4CD5-AF04-0CB6499078D1}">
      <dgm:prSet phldrT="[Text]"/>
      <dgm:spPr/>
      <dgm:t>
        <a:bodyPr/>
        <a:lstStyle/>
        <a:p>
          <a:pPr>
            <a:buFont typeface="Calibri" panose="020F0502020204030204" pitchFamily="34" charset="0"/>
            <a:buChar char="-"/>
          </a:pPr>
          <a:r>
            <a:rPr lang="ar-SA" dirty="0"/>
            <a:t>موقع محطة </a:t>
          </a:r>
          <a:r>
            <a:rPr lang="ar-SA" dirty="0" err="1"/>
            <a:t>العصلوجي</a:t>
          </a:r>
          <a:r>
            <a:rPr lang="ar-SA" dirty="0"/>
            <a:t> لاستقبال الحمأة من محطات قري ومدن الزقازيق</a:t>
          </a:r>
          <a:r>
            <a:rPr lang="ar-EG" dirty="0"/>
            <a:t> بمساحة تقدر ب 5 فدادين</a:t>
          </a:r>
          <a:endParaRPr lang="en-US" dirty="0"/>
        </a:p>
      </dgm:t>
    </dgm:pt>
    <dgm:pt modelId="{6FBC6E25-1BD3-425E-A5B0-223A51AED2B7}" type="parTrans" cxnId="{6CCF8318-6592-4D67-AF17-4907BF81E881}">
      <dgm:prSet/>
      <dgm:spPr/>
      <dgm:t>
        <a:bodyPr/>
        <a:lstStyle/>
        <a:p>
          <a:endParaRPr lang="en-US"/>
        </a:p>
      </dgm:t>
    </dgm:pt>
    <dgm:pt modelId="{E62654F6-7614-4578-94B4-7E5ECA9100A3}" type="sibTrans" cxnId="{6CCF8318-6592-4D67-AF17-4907BF81E881}">
      <dgm:prSet/>
      <dgm:spPr/>
      <dgm:t>
        <a:bodyPr/>
        <a:lstStyle/>
        <a:p>
          <a:endParaRPr lang="en-US"/>
        </a:p>
      </dgm:t>
    </dgm:pt>
    <dgm:pt modelId="{51A2CF4C-DC5D-4586-988B-588EF8D1E6C2}">
      <dgm:prSet phldrT="[Text]"/>
      <dgm:spPr/>
      <dgm:t>
        <a:bodyPr/>
        <a:lstStyle/>
        <a:p>
          <a:pPr>
            <a:buFont typeface="Calibri" panose="020F0502020204030204" pitchFamily="34" charset="0"/>
            <a:buChar char="-"/>
          </a:pPr>
          <a:r>
            <a:rPr lang="ar-SA" dirty="0"/>
            <a:t>موقع محطة </a:t>
          </a:r>
          <a:r>
            <a:rPr lang="ar-SA" dirty="0" err="1"/>
            <a:t>السعدات</a:t>
          </a:r>
          <a:r>
            <a:rPr lang="ar-SA" dirty="0"/>
            <a:t> لاستقبال الحمأة من محطات </a:t>
          </a:r>
          <a:r>
            <a:rPr lang="ar-EG" dirty="0"/>
            <a:t>بلبيس وتوابعها </a:t>
          </a:r>
          <a:r>
            <a:rPr lang="ar-SA" dirty="0"/>
            <a:t>– مساحة</a:t>
          </a:r>
          <a:r>
            <a:rPr lang="ar-EG" dirty="0"/>
            <a:t> 1</a:t>
          </a:r>
          <a:r>
            <a:rPr lang="ar-SA" dirty="0"/>
            <a:t> فدان</a:t>
          </a:r>
          <a:endParaRPr lang="en-US" dirty="0"/>
        </a:p>
      </dgm:t>
    </dgm:pt>
    <dgm:pt modelId="{FA848955-A286-401A-AA11-E42B9DD9EEF6}" type="parTrans" cxnId="{931FFC78-6372-407C-ADF8-0455B70B4642}">
      <dgm:prSet/>
      <dgm:spPr/>
      <dgm:t>
        <a:bodyPr/>
        <a:lstStyle/>
        <a:p>
          <a:endParaRPr lang="en-US"/>
        </a:p>
      </dgm:t>
    </dgm:pt>
    <dgm:pt modelId="{B5BC58E7-8566-4894-876A-B30A45E9A3B6}" type="sibTrans" cxnId="{931FFC78-6372-407C-ADF8-0455B70B4642}">
      <dgm:prSet/>
      <dgm:spPr/>
      <dgm:t>
        <a:bodyPr/>
        <a:lstStyle/>
        <a:p>
          <a:endParaRPr lang="en-US"/>
        </a:p>
      </dgm:t>
    </dgm:pt>
    <dgm:pt modelId="{CAB23528-0436-4C2E-930C-3FD4759F960E}">
      <dgm:prSet phldrT="[Text]"/>
      <dgm:spPr/>
      <dgm:t>
        <a:bodyPr/>
        <a:lstStyle/>
        <a:p>
          <a:pPr>
            <a:buFont typeface="Calibri" panose="020F0502020204030204" pitchFamily="34" charset="0"/>
            <a:buChar char="-"/>
          </a:pPr>
          <a:r>
            <a:rPr lang="ar-SA" dirty="0"/>
            <a:t>موقع خزان حانوت لاستقبال الحمأة من محطات كفر صقر والحسينية – مساحة </a:t>
          </a:r>
          <a:r>
            <a:rPr lang="ar-EG" dirty="0"/>
            <a:t>1 </a:t>
          </a:r>
          <a:r>
            <a:rPr lang="ar-SA" dirty="0"/>
            <a:t>فدان.</a:t>
          </a:r>
          <a:endParaRPr lang="en-US" dirty="0"/>
        </a:p>
      </dgm:t>
    </dgm:pt>
    <dgm:pt modelId="{C75BFAFA-6E8A-4CB0-9212-3D545D71AF76}" type="parTrans" cxnId="{F59E448A-5D22-488C-A425-E059557F5455}">
      <dgm:prSet/>
      <dgm:spPr/>
      <dgm:t>
        <a:bodyPr/>
        <a:lstStyle/>
        <a:p>
          <a:endParaRPr lang="en-US"/>
        </a:p>
      </dgm:t>
    </dgm:pt>
    <dgm:pt modelId="{54837A49-8D85-407B-A61A-ACABF65ACB78}" type="sibTrans" cxnId="{F59E448A-5D22-488C-A425-E059557F5455}">
      <dgm:prSet/>
      <dgm:spPr/>
      <dgm:t>
        <a:bodyPr/>
        <a:lstStyle/>
        <a:p>
          <a:endParaRPr lang="en-US"/>
        </a:p>
      </dgm:t>
    </dgm:pt>
    <dgm:pt modelId="{431D1BFC-1FC0-4A19-BF16-771C864FABC2}" type="pres">
      <dgm:prSet presAssocID="{B95E9E2E-1AC1-4AE1-84F5-CA27C9E9AF5D}" presName="Name0" presStyleCnt="0">
        <dgm:presLayoutVars>
          <dgm:chMax val="7"/>
          <dgm:chPref val="7"/>
          <dgm:dir val="rev"/>
        </dgm:presLayoutVars>
      </dgm:prSet>
      <dgm:spPr/>
    </dgm:pt>
    <dgm:pt modelId="{3FC81170-D473-4287-AD5A-3FE155842349}" type="pres">
      <dgm:prSet presAssocID="{B95E9E2E-1AC1-4AE1-84F5-CA27C9E9AF5D}" presName="Name1" presStyleCnt="0"/>
      <dgm:spPr/>
    </dgm:pt>
    <dgm:pt modelId="{8BC86398-1A32-4203-BB6C-158451FF8AA1}" type="pres">
      <dgm:prSet presAssocID="{B95E9E2E-1AC1-4AE1-84F5-CA27C9E9AF5D}" presName="cycle" presStyleCnt="0"/>
      <dgm:spPr/>
    </dgm:pt>
    <dgm:pt modelId="{6D4691B4-5FD4-466D-98D3-E850DD3CE563}" type="pres">
      <dgm:prSet presAssocID="{B95E9E2E-1AC1-4AE1-84F5-CA27C9E9AF5D}" presName="srcNode" presStyleLbl="node1" presStyleIdx="0" presStyleCnt="3"/>
      <dgm:spPr/>
    </dgm:pt>
    <dgm:pt modelId="{9FE325EF-61D0-46DF-A846-0E15E210ED41}" type="pres">
      <dgm:prSet presAssocID="{B95E9E2E-1AC1-4AE1-84F5-CA27C9E9AF5D}" presName="conn" presStyleLbl="parChTrans1D2" presStyleIdx="0" presStyleCnt="1"/>
      <dgm:spPr/>
    </dgm:pt>
    <dgm:pt modelId="{87E85ED8-499F-42FE-923B-B38345A48315}" type="pres">
      <dgm:prSet presAssocID="{B95E9E2E-1AC1-4AE1-84F5-CA27C9E9AF5D}" presName="extraNode" presStyleLbl="node1" presStyleIdx="0" presStyleCnt="3"/>
      <dgm:spPr/>
    </dgm:pt>
    <dgm:pt modelId="{1BAAD267-E971-45C7-9CA9-C26707FFD1EC}" type="pres">
      <dgm:prSet presAssocID="{B95E9E2E-1AC1-4AE1-84F5-CA27C9E9AF5D}" presName="dstNode" presStyleLbl="node1" presStyleIdx="0" presStyleCnt="3"/>
      <dgm:spPr/>
    </dgm:pt>
    <dgm:pt modelId="{AED9D87D-8A87-4CE6-A74B-F8ED680ACF88}" type="pres">
      <dgm:prSet presAssocID="{662EB6AE-3D41-4CD5-AF04-0CB6499078D1}" presName="text_1" presStyleLbl="node1" presStyleIdx="0" presStyleCnt="3">
        <dgm:presLayoutVars>
          <dgm:bulletEnabled val="1"/>
        </dgm:presLayoutVars>
      </dgm:prSet>
      <dgm:spPr/>
    </dgm:pt>
    <dgm:pt modelId="{289A6EA0-DB49-4484-B352-4D10254A41F6}" type="pres">
      <dgm:prSet presAssocID="{662EB6AE-3D41-4CD5-AF04-0CB6499078D1}" presName="accent_1" presStyleCnt="0"/>
      <dgm:spPr/>
    </dgm:pt>
    <dgm:pt modelId="{1F0C85A0-F714-47C3-8ED4-E2D9CEFDF323}" type="pres">
      <dgm:prSet presAssocID="{662EB6AE-3D41-4CD5-AF04-0CB6499078D1}" presName="accentRepeatNode" presStyleLbl="solidFgAcc1" presStyleIdx="0" presStyleCnt="3"/>
      <dgm:spPr/>
    </dgm:pt>
    <dgm:pt modelId="{65861A92-ED32-4262-818D-72DD10263CA1}" type="pres">
      <dgm:prSet presAssocID="{51A2CF4C-DC5D-4586-988B-588EF8D1E6C2}" presName="text_2" presStyleLbl="node1" presStyleIdx="1" presStyleCnt="3">
        <dgm:presLayoutVars>
          <dgm:bulletEnabled val="1"/>
        </dgm:presLayoutVars>
      </dgm:prSet>
      <dgm:spPr/>
    </dgm:pt>
    <dgm:pt modelId="{AF313623-F126-4E2C-B3BB-ED12C3F4E434}" type="pres">
      <dgm:prSet presAssocID="{51A2CF4C-DC5D-4586-988B-588EF8D1E6C2}" presName="accent_2" presStyleCnt="0"/>
      <dgm:spPr/>
    </dgm:pt>
    <dgm:pt modelId="{099AD577-EA92-4CE1-A541-D97694740E9E}" type="pres">
      <dgm:prSet presAssocID="{51A2CF4C-DC5D-4586-988B-588EF8D1E6C2}" presName="accentRepeatNode" presStyleLbl="solidFgAcc1" presStyleIdx="1" presStyleCnt="3"/>
      <dgm:spPr/>
    </dgm:pt>
    <dgm:pt modelId="{25EDC94A-94B5-4F37-9D2F-962CD81A40FF}" type="pres">
      <dgm:prSet presAssocID="{CAB23528-0436-4C2E-930C-3FD4759F960E}" presName="text_3" presStyleLbl="node1" presStyleIdx="2" presStyleCnt="3">
        <dgm:presLayoutVars>
          <dgm:bulletEnabled val="1"/>
        </dgm:presLayoutVars>
      </dgm:prSet>
      <dgm:spPr/>
    </dgm:pt>
    <dgm:pt modelId="{0A71F51D-E9B3-4477-9A2C-AF210A36FE6B}" type="pres">
      <dgm:prSet presAssocID="{CAB23528-0436-4C2E-930C-3FD4759F960E}" presName="accent_3" presStyleCnt="0"/>
      <dgm:spPr/>
    </dgm:pt>
    <dgm:pt modelId="{94F36AEE-260B-4842-AAB6-3F618B421793}" type="pres">
      <dgm:prSet presAssocID="{CAB23528-0436-4C2E-930C-3FD4759F960E}" presName="accentRepeatNode" presStyleLbl="solidFgAcc1" presStyleIdx="2" presStyleCnt="3"/>
      <dgm:spPr/>
    </dgm:pt>
  </dgm:ptLst>
  <dgm:cxnLst>
    <dgm:cxn modelId="{6CCF8318-6592-4D67-AF17-4907BF81E881}" srcId="{B95E9E2E-1AC1-4AE1-84F5-CA27C9E9AF5D}" destId="{662EB6AE-3D41-4CD5-AF04-0CB6499078D1}" srcOrd="0" destOrd="0" parTransId="{6FBC6E25-1BD3-425E-A5B0-223A51AED2B7}" sibTransId="{E62654F6-7614-4578-94B4-7E5ECA9100A3}"/>
    <dgm:cxn modelId="{20D60930-175A-4177-B261-F9F75E3A0D25}" type="presOf" srcId="{E62654F6-7614-4578-94B4-7E5ECA9100A3}" destId="{9FE325EF-61D0-46DF-A846-0E15E210ED41}" srcOrd="0" destOrd="0" presId="urn:microsoft.com/office/officeart/2008/layout/VerticalCurvedList"/>
    <dgm:cxn modelId="{9A183262-AE74-4188-9A45-0095B07C3564}" type="presOf" srcId="{B95E9E2E-1AC1-4AE1-84F5-CA27C9E9AF5D}" destId="{431D1BFC-1FC0-4A19-BF16-771C864FABC2}" srcOrd="0" destOrd="0" presId="urn:microsoft.com/office/officeart/2008/layout/VerticalCurvedList"/>
    <dgm:cxn modelId="{FCF58049-2340-4A2C-8735-17E73856A5DA}" type="presOf" srcId="{CAB23528-0436-4C2E-930C-3FD4759F960E}" destId="{25EDC94A-94B5-4F37-9D2F-962CD81A40FF}" srcOrd="0" destOrd="0" presId="urn:microsoft.com/office/officeart/2008/layout/VerticalCurvedList"/>
    <dgm:cxn modelId="{8BA5066A-4065-4278-99CB-BAE73356FCDB}" type="presOf" srcId="{662EB6AE-3D41-4CD5-AF04-0CB6499078D1}" destId="{AED9D87D-8A87-4CE6-A74B-F8ED680ACF88}" srcOrd="0" destOrd="0" presId="urn:microsoft.com/office/officeart/2008/layout/VerticalCurvedList"/>
    <dgm:cxn modelId="{931FFC78-6372-407C-ADF8-0455B70B4642}" srcId="{B95E9E2E-1AC1-4AE1-84F5-CA27C9E9AF5D}" destId="{51A2CF4C-DC5D-4586-988B-588EF8D1E6C2}" srcOrd="1" destOrd="0" parTransId="{FA848955-A286-401A-AA11-E42B9DD9EEF6}" sibTransId="{B5BC58E7-8566-4894-876A-B30A45E9A3B6}"/>
    <dgm:cxn modelId="{F59E448A-5D22-488C-A425-E059557F5455}" srcId="{B95E9E2E-1AC1-4AE1-84F5-CA27C9E9AF5D}" destId="{CAB23528-0436-4C2E-930C-3FD4759F960E}" srcOrd="2" destOrd="0" parTransId="{C75BFAFA-6E8A-4CB0-9212-3D545D71AF76}" sibTransId="{54837A49-8D85-407B-A61A-ACABF65ACB78}"/>
    <dgm:cxn modelId="{D3A4C8D8-C1BA-486A-BFED-E4C40970041E}" type="presOf" srcId="{51A2CF4C-DC5D-4586-988B-588EF8D1E6C2}" destId="{65861A92-ED32-4262-818D-72DD10263CA1}" srcOrd="0" destOrd="0" presId="urn:microsoft.com/office/officeart/2008/layout/VerticalCurvedList"/>
    <dgm:cxn modelId="{20036B67-0F44-44F6-8CB6-36E3FC8C4A20}" type="presParOf" srcId="{431D1BFC-1FC0-4A19-BF16-771C864FABC2}" destId="{3FC81170-D473-4287-AD5A-3FE155842349}" srcOrd="0" destOrd="0" presId="urn:microsoft.com/office/officeart/2008/layout/VerticalCurvedList"/>
    <dgm:cxn modelId="{E92D1680-BDB6-4391-B18A-9D0F5F87B4E3}" type="presParOf" srcId="{3FC81170-D473-4287-AD5A-3FE155842349}" destId="{8BC86398-1A32-4203-BB6C-158451FF8AA1}" srcOrd="0" destOrd="0" presId="urn:microsoft.com/office/officeart/2008/layout/VerticalCurvedList"/>
    <dgm:cxn modelId="{2F6278A1-7E3E-4D79-815A-CBD4F0B95A37}" type="presParOf" srcId="{8BC86398-1A32-4203-BB6C-158451FF8AA1}" destId="{6D4691B4-5FD4-466D-98D3-E850DD3CE563}" srcOrd="0" destOrd="0" presId="urn:microsoft.com/office/officeart/2008/layout/VerticalCurvedList"/>
    <dgm:cxn modelId="{FCC0DF1D-741B-4DAF-96A5-49680A8FB388}" type="presParOf" srcId="{8BC86398-1A32-4203-BB6C-158451FF8AA1}" destId="{9FE325EF-61D0-46DF-A846-0E15E210ED41}" srcOrd="1" destOrd="0" presId="urn:microsoft.com/office/officeart/2008/layout/VerticalCurvedList"/>
    <dgm:cxn modelId="{1E74991B-2DED-40FC-B863-E57C08C59F87}" type="presParOf" srcId="{8BC86398-1A32-4203-BB6C-158451FF8AA1}" destId="{87E85ED8-499F-42FE-923B-B38345A48315}" srcOrd="2" destOrd="0" presId="urn:microsoft.com/office/officeart/2008/layout/VerticalCurvedList"/>
    <dgm:cxn modelId="{35198A1B-9015-4A86-BAF5-14F929EC122B}" type="presParOf" srcId="{8BC86398-1A32-4203-BB6C-158451FF8AA1}" destId="{1BAAD267-E971-45C7-9CA9-C26707FFD1EC}" srcOrd="3" destOrd="0" presId="urn:microsoft.com/office/officeart/2008/layout/VerticalCurvedList"/>
    <dgm:cxn modelId="{D52E1661-72A1-44E6-B005-6A4D46170850}" type="presParOf" srcId="{3FC81170-D473-4287-AD5A-3FE155842349}" destId="{AED9D87D-8A87-4CE6-A74B-F8ED680ACF88}" srcOrd="1" destOrd="0" presId="urn:microsoft.com/office/officeart/2008/layout/VerticalCurvedList"/>
    <dgm:cxn modelId="{41F6A7B5-65EF-48D6-9F37-DC6619AFC022}" type="presParOf" srcId="{3FC81170-D473-4287-AD5A-3FE155842349}" destId="{289A6EA0-DB49-4484-B352-4D10254A41F6}" srcOrd="2" destOrd="0" presId="urn:microsoft.com/office/officeart/2008/layout/VerticalCurvedList"/>
    <dgm:cxn modelId="{2D26D437-1103-4520-93A0-2552FF2C8C99}" type="presParOf" srcId="{289A6EA0-DB49-4484-B352-4D10254A41F6}" destId="{1F0C85A0-F714-47C3-8ED4-E2D9CEFDF323}" srcOrd="0" destOrd="0" presId="urn:microsoft.com/office/officeart/2008/layout/VerticalCurvedList"/>
    <dgm:cxn modelId="{F71552CC-8C65-476A-888D-603BBCA02EA8}" type="presParOf" srcId="{3FC81170-D473-4287-AD5A-3FE155842349}" destId="{65861A92-ED32-4262-818D-72DD10263CA1}" srcOrd="3" destOrd="0" presId="urn:microsoft.com/office/officeart/2008/layout/VerticalCurvedList"/>
    <dgm:cxn modelId="{463972F1-7264-44BB-8E99-2C90B0244521}" type="presParOf" srcId="{3FC81170-D473-4287-AD5A-3FE155842349}" destId="{AF313623-F126-4E2C-B3BB-ED12C3F4E434}" srcOrd="4" destOrd="0" presId="urn:microsoft.com/office/officeart/2008/layout/VerticalCurvedList"/>
    <dgm:cxn modelId="{F91F5D3A-F4A9-4AD3-BA49-C462230D95E1}" type="presParOf" srcId="{AF313623-F126-4E2C-B3BB-ED12C3F4E434}" destId="{099AD577-EA92-4CE1-A541-D97694740E9E}" srcOrd="0" destOrd="0" presId="urn:microsoft.com/office/officeart/2008/layout/VerticalCurvedList"/>
    <dgm:cxn modelId="{F856B975-C368-40F2-AA71-E0C95D5CEC62}" type="presParOf" srcId="{3FC81170-D473-4287-AD5A-3FE155842349}" destId="{25EDC94A-94B5-4F37-9D2F-962CD81A40FF}" srcOrd="5" destOrd="0" presId="urn:microsoft.com/office/officeart/2008/layout/VerticalCurvedList"/>
    <dgm:cxn modelId="{F21DE89F-4CD9-4010-8256-A33BA43DB938}" type="presParOf" srcId="{3FC81170-D473-4287-AD5A-3FE155842349}" destId="{0A71F51D-E9B3-4477-9A2C-AF210A36FE6B}" srcOrd="6" destOrd="0" presId="urn:microsoft.com/office/officeart/2008/layout/VerticalCurvedList"/>
    <dgm:cxn modelId="{C24FF0D8-C171-4122-B4B6-617783FC46B6}" type="presParOf" srcId="{0A71F51D-E9B3-4477-9A2C-AF210A36FE6B}" destId="{94F36AEE-260B-4842-AAB6-3F618B42179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D78CAD-C70A-4014-8C29-3850CCC9A05C}" type="doc">
      <dgm:prSet loTypeId="urn:microsoft.com/office/officeart/2011/layout/CircleProcess" loCatId="process" qsTypeId="urn:microsoft.com/office/officeart/2009/2/quickstyle/3d8" qsCatId="3D" csTypeId="urn:microsoft.com/office/officeart/2005/8/colors/accent1_2" csCatId="accent1" phldr="1"/>
      <dgm:spPr/>
      <dgm:t>
        <a:bodyPr/>
        <a:lstStyle/>
        <a:p>
          <a:endParaRPr lang="en-US"/>
        </a:p>
      </dgm:t>
    </dgm:pt>
    <dgm:pt modelId="{C590A26E-4672-40BC-9340-644C53949190}">
      <dgm:prSet phldrT="[Text]"/>
      <dgm:spPr/>
      <dgm:t>
        <a:bodyPr/>
        <a:lstStyle/>
        <a:p>
          <a:r>
            <a:rPr lang="ar-EG" dirty="0"/>
            <a:t>500 فرصة عمل مباشرة</a:t>
          </a:r>
          <a:endParaRPr lang="en-US" dirty="0"/>
        </a:p>
      </dgm:t>
    </dgm:pt>
    <dgm:pt modelId="{24A99BAD-ABB2-42A5-B065-1521658CEAAF}" type="parTrans" cxnId="{DFF8570E-1A1B-4421-908E-76ACF179FC58}">
      <dgm:prSet/>
      <dgm:spPr/>
      <dgm:t>
        <a:bodyPr/>
        <a:lstStyle/>
        <a:p>
          <a:endParaRPr lang="en-US"/>
        </a:p>
      </dgm:t>
    </dgm:pt>
    <dgm:pt modelId="{EE83C809-9F89-4D01-9840-85E4EEAEE86F}" type="sibTrans" cxnId="{DFF8570E-1A1B-4421-908E-76ACF179FC58}">
      <dgm:prSet/>
      <dgm:spPr/>
      <dgm:t>
        <a:bodyPr/>
        <a:lstStyle/>
        <a:p>
          <a:endParaRPr lang="en-US"/>
        </a:p>
      </dgm:t>
    </dgm:pt>
    <dgm:pt modelId="{7A35094D-2669-4279-BB7A-D2C8DEAC361F}">
      <dgm:prSet phldrT="[Text]"/>
      <dgm:spPr/>
      <dgm:t>
        <a:bodyPr/>
        <a:lstStyle/>
        <a:p>
          <a:r>
            <a:rPr lang="ar-EG" dirty="0"/>
            <a:t>5000 فرصة عمل غير مباشرة</a:t>
          </a:r>
          <a:endParaRPr lang="en-US" dirty="0"/>
        </a:p>
      </dgm:t>
    </dgm:pt>
    <dgm:pt modelId="{D18F15FF-5713-448C-ACE2-B752F106103C}" type="parTrans" cxnId="{E4B236D7-D2F0-4BEB-8CAD-CC4E80B27B89}">
      <dgm:prSet/>
      <dgm:spPr/>
      <dgm:t>
        <a:bodyPr/>
        <a:lstStyle/>
        <a:p>
          <a:endParaRPr lang="en-US"/>
        </a:p>
      </dgm:t>
    </dgm:pt>
    <dgm:pt modelId="{98D15418-2EE4-4583-A210-A293ECBCFB81}" type="sibTrans" cxnId="{E4B236D7-D2F0-4BEB-8CAD-CC4E80B27B89}">
      <dgm:prSet/>
      <dgm:spPr/>
      <dgm:t>
        <a:bodyPr/>
        <a:lstStyle/>
        <a:p>
          <a:endParaRPr lang="en-US"/>
        </a:p>
      </dgm:t>
    </dgm:pt>
    <dgm:pt modelId="{258D0801-F34F-492F-BBDE-472D848078C9}" type="pres">
      <dgm:prSet presAssocID="{E7D78CAD-C70A-4014-8C29-3850CCC9A05C}" presName="Name0" presStyleCnt="0">
        <dgm:presLayoutVars>
          <dgm:chMax val="11"/>
          <dgm:chPref val="11"/>
          <dgm:dir/>
          <dgm:resizeHandles/>
        </dgm:presLayoutVars>
      </dgm:prSet>
      <dgm:spPr/>
    </dgm:pt>
    <dgm:pt modelId="{A0E0E1B5-FE62-441F-B5D5-A494BF60F7C1}" type="pres">
      <dgm:prSet presAssocID="{7A35094D-2669-4279-BB7A-D2C8DEAC361F}" presName="Accent2" presStyleCnt="0"/>
      <dgm:spPr/>
    </dgm:pt>
    <dgm:pt modelId="{014F7D66-4180-4B9C-A3F7-EAC87A2FF312}" type="pres">
      <dgm:prSet presAssocID="{7A35094D-2669-4279-BB7A-D2C8DEAC361F}" presName="Accent" presStyleLbl="node1" presStyleIdx="0" presStyleCnt="2"/>
      <dgm:spPr/>
    </dgm:pt>
    <dgm:pt modelId="{91BAB570-8D3C-4FED-8958-D44BFA056B0F}" type="pres">
      <dgm:prSet presAssocID="{7A35094D-2669-4279-BB7A-D2C8DEAC361F}" presName="ParentBackground2" presStyleCnt="0"/>
      <dgm:spPr/>
    </dgm:pt>
    <dgm:pt modelId="{6BB2C248-5939-48F8-AC8C-453D1A772F27}" type="pres">
      <dgm:prSet presAssocID="{7A35094D-2669-4279-BB7A-D2C8DEAC361F}" presName="ParentBackground" presStyleLbl="fgAcc1" presStyleIdx="0" presStyleCnt="2"/>
      <dgm:spPr/>
    </dgm:pt>
    <dgm:pt modelId="{606DCA1C-3BCE-4901-9E25-E02371C4B14D}" type="pres">
      <dgm:prSet presAssocID="{7A35094D-2669-4279-BB7A-D2C8DEAC361F}" presName="Parent2" presStyleLbl="revTx" presStyleIdx="0" presStyleCnt="0">
        <dgm:presLayoutVars>
          <dgm:chMax val="1"/>
          <dgm:chPref val="1"/>
          <dgm:bulletEnabled val="1"/>
        </dgm:presLayoutVars>
      </dgm:prSet>
      <dgm:spPr/>
    </dgm:pt>
    <dgm:pt modelId="{3FEAD0A1-78D4-4495-B9E8-5A4C23210F5A}" type="pres">
      <dgm:prSet presAssocID="{C590A26E-4672-40BC-9340-644C53949190}" presName="Accent1" presStyleCnt="0"/>
      <dgm:spPr/>
    </dgm:pt>
    <dgm:pt modelId="{E4D76E7D-3C79-4D79-8ED9-EF4FDB5B6282}" type="pres">
      <dgm:prSet presAssocID="{C590A26E-4672-40BC-9340-644C53949190}" presName="Accent" presStyleLbl="node1" presStyleIdx="1" presStyleCnt="2"/>
      <dgm:spPr/>
    </dgm:pt>
    <dgm:pt modelId="{D3503B87-F231-456A-BE05-D69006249DAA}" type="pres">
      <dgm:prSet presAssocID="{C590A26E-4672-40BC-9340-644C53949190}" presName="ParentBackground1" presStyleCnt="0"/>
      <dgm:spPr/>
    </dgm:pt>
    <dgm:pt modelId="{75A4D7CD-0DB7-48F2-8508-8EDEA0705A7B}" type="pres">
      <dgm:prSet presAssocID="{C590A26E-4672-40BC-9340-644C53949190}" presName="ParentBackground" presStyleLbl="fgAcc1" presStyleIdx="1" presStyleCnt="2"/>
      <dgm:spPr/>
    </dgm:pt>
    <dgm:pt modelId="{55DBB9DE-81DD-408F-968D-705B710C7BD0}" type="pres">
      <dgm:prSet presAssocID="{C590A26E-4672-40BC-9340-644C53949190}" presName="Parent1" presStyleLbl="revTx" presStyleIdx="0" presStyleCnt="0">
        <dgm:presLayoutVars>
          <dgm:chMax val="1"/>
          <dgm:chPref val="1"/>
          <dgm:bulletEnabled val="1"/>
        </dgm:presLayoutVars>
      </dgm:prSet>
      <dgm:spPr/>
    </dgm:pt>
  </dgm:ptLst>
  <dgm:cxnLst>
    <dgm:cxn modelId="{984E9B01-C81E-48B1-8D6E-DCB091372AC1}" type="presOf" srcId="{7A35094D-2669-4279-BB7A-D2C8DEAC361F}" destId="{606DCA1C-3BCE-4901-9E25-E02371C4B14D}" srcOrd="1" destOrd="0" presId="urn:microsoft.com/office/officeart/2011/layout/CircleProcess"/>
    <dgm:cxn modelId="{DFF8570E-1A1B-4421-908E-76ACF179FC58}" srcId="{E7D78CAD-C70A-4014-8C29-3850CCC9A05C}" destId="{C590A26E-4672-40BC-9340-644C53949190}" srcOrd="0" destOrd="0" parTransId="{24A99BAD-ABB2-42A5-B065-1521658CEAAF}" sibTransId="{EE83C809-9F89-4D01-9840-85E4EEAEE86F}"/>
    <dgm:cxn modelId="{A545EF14-B6E8-4330-99B5-318B6D628664}" type="presOf" srcId="{C590A26E-4672-40BC-9340-644C53949190}" destId="{75A4D7CD-0DB7-48F2-8508-8EDEA0705A7B}" srcOrd="0" destOrd="0" presId="urn:microsoft.com/office/officeart/2011/layout/CircleProcess"/>
    <dgm:cxn modelId="{C07F174E-C703-4700-B3B7-978440074F72}" type="presOf" srcId="{E7D78CAD-C70A-4014-8C29-3850CCC9A05C}" destId="{258D0801-F34F-492F-BBDE-472D848078C9}" srcOrd="0" destOrd="0" presId="urn:microsoft.com/office/officeart/2011/layout/CircleProcess"/>
    <dgm:cxn modelId="{FAAEADB0-88BA-45B5-A7CA-56B68C9913E7}" type="presOf" srcId="{7A35094D-2669-4279-BB7A-D2C8DEAC361F}" destId="{6BB2C248-5939-48F8-AC8C-453D1A772F27}" srcOrd="0" destOrd="0" presId="urn:microsoft.com/office/officeart/2011/layout/CircleProcess"/>
    <dgm:cxn modelId="{B63D28CD-B1B0-4D87-8ECE-0ABDB3EB38D1}" type="presOf" srcId="{C590A26E-4672-40BC-9340-644C53949190}" destId="{55DBB9DE-81DD-408F-968D-705B710C7BD0}" srcOrd="1" destOrd="0" presId="urn:microsoft.com/office/officeart/2011/layout/CircleProcess"/>
    <dgm:cxn modelId="{E4B236D7-D2F0-4BEB-8CAD-CC4E80B27B89}" srcId="{E7D78CAD-C70A-4014-8C29-3850CCC9A05C}" destId="{7A35094D-2669-4279-BB7A-D2C8DEAC361F}" srcOrd="1" destOrd="0" parTransId="{D18F15FF-5713-448C-ACE2-B752F106103C}" sibTransId="{98D15418-2EE4-4583-A210-A293ECBCFB81}"/>
    <dgm:cxn modelId="{73AEAC75-2AB6-46E1-ACB1-222EA181A542}" type="presParOf" srcId="{258D0801-F34F-492F-BBDE-472D848078C9}" destId="{A0E0E1B5-FE62-441F-B5D5-A494BF60F7C1}" srcOrd="0" destOrd="0" presId="urn:microsoft.com/office/officeart/2011/layout/CircleProcess"/>
    <dgm:cxn modelId="{6DE0C0A4-8FB4-41C1-85A4-C2E579F938CF}" type="presParOf" srcId="{A0E0E1B5-FE62-441F-B5D5-A494BF60F7C1}" destId="{014F7D66-4180-4B9C-A3F7-EAC87A2FF312}" srcOrd="0" destOrd="0" presId="urn:microsoft.com/office/officeart/2011/layout/CircleProcess"/>
    <dgm:cxn modelId="{23C52D7E-F05D-4318-AB3B-B0811A73B454}" type="presParOf" srcId="{258D0801-F34F-492F-BBDE-472D848078C9}" destId="{91BAB570-8D3C-4FED-8958-D44BFA056B0F}" srcOrd="1" destOrd="0" presId="urn:microsoft.com/office/officeart/2011/layout/CircleProcess"/>
    <dgm:cxn modelId="{9917F227-A2ED-4C9F-8557-124F6B00155F}" type="presParOf" srcId="{91BAB570-8D3C-4FED-8958-D44BFA056B0F}" destId="{6BB2C248-5939-48F8-AC8C-453D1A772F27}" srcOrd="0" destOrd="0" presId="urn:microsoft.com/office/officeart/2011/layout/CircleProcess"/>
    <dgm:cxn modelId="{C65FECA7-323D-4746-9788-E193BF932C36}" type="presParOf" srcId="{258D0801-F34F-492F-BBDE-472D848078C9}" destId="{606DCA1C-3BCE-4901-9E25-E02371C4B14D}" srcOrd="2" destOrd="0" presId="urn:microsoft.com/office/officeart/2011/layout/CircleProcess"/>
    <dgm:cxn modelId="{84188A44-6E72-403D-B3BB-0515F76A7DF5}" type="presParOf" srcId="{258D0801-F34F-492F-BBDE-472D848078C9}" destId="{3FEAD0A1-78D4-4495-B9E8-5A4C23210F5A}" srcOrd="3" destOrd="0" presId="urn:microsoft.com/office/officeart/2011/layout/CircleProcess"/>
    <dgm:cxn modelId="{91C2E8D9-9DC9-42D1-B174-34316CA3E295}" type="presParOf" srcId="{3FEAD0A1-78D4-4495-B9E8-5A4C23210F5A}" destId="{E4D76E7D-3C79-4D79-8ED9-EF4FDB5B6282}" srcOrd="0" destOrd="0" presId="urn:microsoft.com/office/officeart/2011/layout/CircleProcess"/>
    <dgm:cxn modelId="{22C30966-5A0D-4C17-B67B-CE5C95D5DF09}" type="presParOf" srcId="{258D0801-F34F-492F-BBDE-472D848078C9}" destId="{D3503B87-F231-456A-BE05-D69006249DAA}" srcOrd="4" destOrd="0" presId="urn:microsoft.com/office/officeart/2011/layout/CircleProcess"/>
    <dgm:cxn modelId="{EEE7F859-04B2-4847-80F7-86C8B65F822C}" type="presParOf" srcId="{D3503B87-F231-456A-BE05-D69006249DAA}" destId="{75A4D7CD-0DB7-48F2-8508-8EDEA0705A7B}" srcOrd="0" destOrd="0" presId="urn:microsoft.com/office/officeart/2011/layout/CircleProcess"/>
    <dgm:cxn modelId="{AD6B7C3B-1D7D-437C-845B-3D85D347EC91}" type="presParOf" srcId="{258D0801-F34F-492F-BBDE-472D848078C9}" destId="{55DBB9DE-81DD-408F-968D-705B710C7BD0}" srcOrd="5"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161EB6D-C2C6-4213-B9F7-88CAA91CB57C}" type="doc">
      <dgm:prSet loTypeId="urn:microsoft.com/office/officeart/2005/8/layout/gear1" loCatId="process" qsTypeId="urn:microsoft.com/office/officeart/2005/8/quickstyle/simple1" qsCatId="simple" csTypeId="urn:microsoft.com/office/officeart/2005/8/colors/accent0_3" csCatId="mainScheme" phldr="1"/>
      <dgm:spPr/>
      <dgm:t>
        <a:bodyPr/>
        <a:lstStyle/>
        <a:p>
          <a:endParaRPr lang="en-US"/>
        </a:p>
      </dgm:t>
    </dgm:pt>
    <dgm:pt modelId="{014541CA-0EF0-4CC4-998A-0FA3C65036FA}">
      <dgm:prSet phldrT="[Text]" custT="1"/>
      <dgm:spPr/>
      <dgm:t>
        <a:bodyPr/>
        <a:lstStyle/>
        <a:p>
          <a:pPr>
            <a:buFont typeface="Symbol" panose="05050102010706020507" pitchFamily="18" charset="2"/>
            <a:buChar char=""/>
          </a:pPr>
          <a:r>
            <a:rPr lang="ar-EG" sz="1200" b="1" dirty="0">
              <a:effectLst/>
              <a:latin typeface="Calibri" panose="020F0502020204030204" pitchFamily="34" charset="0"/>
              <a:ea typeface="Calibri" panose="020F0502020204030204" pitchFamily="34" charset="0"/>
              <a:cs typeface="Calibri" panose="020F0502020204030204" pitchFamily="34" charset="0"/>
            </a:rPr>
            <a:t>اتساع الرقعة الزراعية وخدمة الزراعة من خلال توفير سماد طبيعي بأسعار منخفضة</a:t>
          </a:r>
          <a:endParaRPr lang="en-US" sz="1200" b="1" dirty="0"/>
        </a:p>
      </dgm:t>
    </dgm:pt>
    <dgm:pt modelId="{09D437B2-F890-4EF5-8A6A-E2BFA8661865}" type="parTrans" cxnId="{E0784464-BD8D-4F24-9C23-DA9500B28966}">
      <dgm:prSet/>
      <dgm:spPr/>
      <dgm:t>
        <a:bodyPr/>
        <a:lstStyle/>
        <a:p>
          <a:endParaRPr lang="en-US" sz="1600" b="1"/>
        </a:p>
      </dgm:t>
    </dgm:pt>
    <dgm:pt modelId="{E3654CC0-68B8-431F-A567-F4116D866ECE}" type="sibTrans" cxnId="{E0784464-BD8D-4F24-9C23-DA9500B28966}">
      <dgm:prSet/>
      <dgm:spPr/>
      <dgm:t>
        <a:bodyPr/>
        <a:lstStyle/>
        <a:p>
          <a:endParaRPr lang="en-US" sz="1600" b="1"/>
        </a:p>
      </dgm:t>
    </dgm:pt>
    <dgm:pt modelId="{9AEBA6C0-79A0-44D2-B845-FAABD962689B}">
      <dgm:prSet phldrT="[Text]" custT="1"/>
      <dgm:spPr/>
      <dgm:t>
        <a:bodyPr/>
        <a:lstStyle/>
        <a:p>
          <a:pPr>
            <a:buFont typeface="Symbol" panose="05050102010706020507" pitchFamily="18" charset="2"/>
            <a:buChar char=""/>
          </a:pPr>
          <a:r>
            <a:rPr lang="ar-EG" sz="1100" b="1" dirty="0">
              <a:effectLst/>
              <a:latin typeface="Calibri" panose="020F0502020204030204" pitchFamily="34" charset="0"/>
              <a:ea typeface="Calibri" panose="020F0502020204030204" pitchFamily="34" charset="0"/>
              <a:cs typeface="Calibri" panose="020F0502020204030204" pitchFamily="34" charset="0"/>
            </a:rPr>
            <a:t>تحويل المخلفات الصلبة من عمليات المعالجة الي سماد عضوي</a:t>
          </a:r>
          <a:endParaRPr lang="en-US" sz="1100" b="1" dirty="0"/>
        </a:p>
      </dgm:t>
    </dgm:pt>
    <dgm:pt modelId="{E7C773CD-1312-47AB-93D3-92A1C7B9E0F1}" type="parTrans" cxnId="{5467820C-1813-40E7-9858-3C11BD166DB3}">
      <dgm:prSet/>
      <dgm:spPr/>
      <dgm:t>
        <a:bodyPr/>
        <a:lstStyle/>
        <a:p>
          <a:endParaRPr lang="en-US" sz="1600" b="1"/>
        </a:p>
      </dgm:t>
    </dgm:pt>
    <dgm:pt modelId="{5C3A83B3-65E8-4EA4-8090-5F03C71E7794}" type="sibTrans" cxnId="{5467820C-1813-40E7-9858-3C11BD166DB3}">
      <dgm:prSet/>
      <dgm:spPr/>
      <dgm:t>
        <a:bodyPr/>
        <a:lstStyle/>
        <a:p>
          <a:endParaRPr lang="en-US" sz="1600" b="1"/>
        </a:p>
      </dgm:t>
    </dgm:pt>
    <dgm:pt modelId="{417B0DA0-B280-4E70-9F40-F15F0A99376E}">
      <dgm:prSet phldrT="[Text]" custT="1"/>
      <dgm:spPr/>
      <dgm:t>
        <a:bodyPr/>
        <a:lstStyle/>
        <a:p>
          <a:pPr>
            <a:buFont typeface="Symbol" panose="05050102010706020507" pitchFamily="18" charset="2"/>
            <a:buChar char=""/>
          </a:pPr>
          <a:r>
            <a:rPr lang="ar-EG" sz="1100" b="1" dirty="0">
              <a:effectLst/>
              <a:latin typeface="Calibri" panose="020F0502020204030204" pitchFamily="34" charset="0"/>
              <a:ea typeface="Calibri" panose="020F0502020204030204" pitchFamily="34" charset="0"/>
              <a:cs typeface="Calibri" panose="020F0502020204030204" pitchFamily="34" charset="0"/>
            </a:rPr>
            <a:t>خفض انبعاث الغازات الدفيئة الناتجة عن عمليات التخمر اللاهوائي للحمأة 50%</a:t>
          </a:r>
          <a:endParaRPr lang="en-US" sz="1100" b="1" dirty="0"/>
        </a:p>
      </dgm:t>
    </dgm:pt>
    <dgm:pt modelId="{67011E6C-ABF2-4093-A180-101DD2892934}" type="parTrans" cxnId="{1B60FF72-1FB4-4F8F-802F-E950E3465359}">
      <dgm:prSet/>
      <dgm:spPr/>
      <dgm:t>
        <a:bodyPr/>
        <a:lstStyle/>
        <a:p>
          <a:endParaRPr lang="en-US" sz="1600" b="1"/>
        </a:p>
      </dgm:t>
    </dgm:pt>
    <dgm:pt modelId="{3F321F2A-7F14-4474-9A84-AACE57F535C7}" type="sibTrans" cxnId="{1B60FF72-1FB4-4F8F-802F-E950E3465359}">
      <dgm:prSet/>
      <dgm:spPr/>
      <dgm:t>
        <a:bodyPr/>
        <a:lstStyle/>
        <a:p>
          <a:endParaRPr lang="en-US" sz="1600" b="1"/>
        </a:p>
      </dgm:t>
    </dgm:pt>
    <dgm:pt modelId="{FAF9B36F-A17D-4B08-A303-72728A471DCB}">
      <dgm:prSet phldrT="[Text]" custT="1"/>
      <dgm:spPr/>
    </dgm:pt>
    <dgm:pt modelId="{CC4B8755-07ED-4156-97B8-FE93F60DC007}" type="parTrans" cxnId="{7845FD33-48B1-4974-824F-B5034E84D406}">
      <dgm:prSet/>
      <dgm:spPr/>
      <dgm:t>
        <a:bodyPr/>
        <a:lstStyle/>
        <a:p>
          <a:endParaRPr lang="en-US" sz="1600" b="1"/>
        </a:p>
      </dgm:t>
    </dgm:pt>
    <dgm:pt modelId="{D874FBD0-2A1F-441B-8CBE-3626E8E1FBF9}" type="sibTrans" cxnId="{7845FD33-48B1-4974-824F-B5034E84D406}">
      <dgm:prSet/>
      <dgm:spPr/>
      <dgm:t>
        <a:bodyPr/>
        <a:lstStyle/>
        <a:p>
          <a:endParaRPr lang="en-US" sz="1600" b="1"/>
        </a:p>
      </dgm:t>
    </dgm:pt>
    <dgm:pt modelId="{2F33A196-232E-4C8F-8E97-6C834FA06E5B}" type="pres">
      <dgm:prSet presAssocID="{9161EB6D-C2C6-4213-B9F7-88CAA91CB57C}" presName="composite" presStyleCnt="0">
        <dgm:presLayoutVars>
          <dgm:chMax val="3"/>
          <dgm:animLvl val="lvl"/>
          <dgm:resizeHandles val="exact"/>
        </dgm:presLayoutVars>
      </dgm:prSet>
      <dgm:spPr/>
    </dgm:pt>
    <dgm:pt modelId="{5782DE6C-1B0E-4F38-B584-0FD50CB6ABCE}" type="pres">
      <dgm:prSet presAssocID="{014541CA-0EF0-4CC4-998A-0FA3C65036FA}" presName="gear1" presStyleLbl="node1" presStyleIdx="0" presStyleCnt="3">
        <dgm:presLayoutVars>
          <dgm:chMax val="1"/>
          <dgm:bulletEnabled val="1"/>
        </dgm:presLayoutVars>
      </dgm:prSet>
      <dgm:spPr/>
    </dgm:pt>
    <dgm:pt modelId="{CD70B63A-D229-4FD8-9261-6ECF2567BCDD}" type="pres">
      <dgm:prSet presAssocID="{014541CA-0EF0-4CC4-998A-0FA3C65036FA}" presName="gear1srcNode" presStyleLbl="node1" presStyleIdx="0" presStyleCnt="3"/>
      <dgm:spPr/>
    </dgm:pt>
    <dgm:pt modelId="{2D48879D-4821-4377-8F76-F8A1E234604F}" type="pres">
      <dgm:prSet presAssocID="{014541CA-0EF0-4CC4-998A-0FA3C65036FA}" presName="gear1dstNode" presStyleLbl="node1" presStyleIdx="0" presStyleCnt="3"/>
      <dgm:spPr/>
    </dgm:pt>
    <dgm:pt modelId="{FF9AE293-BDC0-4C90-AA6E-D69C83658672}" type="pres">
      <dgm:prSet presAssocID="{9AEBA6C0-79A0-44D2-B845-FAABD962689B}" presName="gear2" presStyleLbl="node1" presStyleIdx="1" presStyleCnt="3">
        <dgm:presLayoutVars>
          <dgm:chMax val="1"/>
          <dgm:bulletEnabled val="1"/>
        </dgm:presLayoutVars>
      </dgm:prSet>
      <dgm:spPr/>
    </dgm:pt>
    <dgm:pt modelId="{51AF606A-70D8-4B44-863B-B9E05F8D3321}" type="pres">
      <dgm:prSet presAssocID="{9AEBA6C0-79A0-44D2-B845-FAABD962689B}" presName="gear2srcNode" presStyleLbl="node1" presStyleIdx="1" presStyleCnt="3"/>
      <dgm:spPr/>
    </dgm:pt>
    <dgm:pt modelId="{349D6A14-B2EB-4550-BE9E-371886C49BD5}" type="pres">
      <dgm:prSet presAssocID="{9AEBA6C0-79A0-44D2-B845-FAABD962689B}" presName="gear2dstNode" presStyleLbl="node1" presStyleIdx="1" presStyleCnt="3"/>
      <dgm:spPr/>
    </dgm:pt>
    <dgm:pt modelId="{0AAE9EC8-CE22-48A7-ADBC-4CF166A95BC4}" type="pres">
      <dgm:prSet presAssocID="{417B0DA0-B280-4E70-9F40-F15F0A99376E}" presName="gear3" presStyleLbl="node1" presStyleIdx="2" presStyleCnt="3"/>
      <dgm:spPr/>
    </dgm:pt>
    <dgm:pt modelId="{5721CBF6-5B18-4E7C-AA88-F9CFBCAA5D1B}" type="pres">
      <dgm:prSet presAssocID="{417B0DA0-B280-4E70-9F40-F15F0A99376E}" presName="gear3tx" presStyleLbl="node1" presStyleIdx="2" presStyleCnt="3">
        <dgm:presLayoutVars>
          <dgm:chMax val="1"/>
          <dgm:bulletEnabled val="1"/>
        </dgm:presLayoutVars>
      </dgm:prSet>
      <dgm:spPr/>
    </dgm:pt>
    <dgm:pt modelId="{33C83CBC-3F76-4713-821F-20BACC73A603}" type="pres">
      <dgm:prSet presAssocID="{417B0DA0-B280-4E70-9F40-F15F0A99376E}" presName="gear3srcNode" presStyleLbl="node1" presStyleIdx="2" presStyleCnt="3"/>
      <dgm:spPr/>
    </dgm:pt>
    <dgm:pt modelId="{D5C5273C-2F2E-414B-8D27-EC409C8E82CD}" type="pres">
      <dgm:prSet presAssocID="{417B0DA0-B280-4E70-9F40-F15F0A99376E}" presName="gear3dstNode" presStyleLbl="node1" presStyleIdx="2" presStyleCnt="3"/>
      <dgm:spPr/>
    </dgm:pt>
    <dgm:pt modelId="{E034D4B5-D801-4F82-AFE4-52BBF52F8BA0}" type="pres">
      <dgm:prSet presAssocID="{E3654CC0-68B8-431F-A567-F4116D866ECE}" presName="connector1" presStyleLbl="sibTrans2D1" presStyleIdx="0" presStyleCnt="3"/>
      <dgm:spPr/>
    </dgm:pt>
    <dgm:pt modelId="{AEB54FCD-D54F-488F-AA34-91A169B80412}" type="pres">
      <dgm:prSet presAssocID="{5C3A83B3-65E8-4EA4-8090-5F03C71E7794}" presName="connector2" presStyleLbl="sibTrans2D1" presStyleIdx="1" presStyleCnt="3"/>
      <dgm:spPr/>
    </dgm:pt>
    <dgm:pt modelId="{3CF7E405-3DE2-4F48-B5F3-74B79BC650ED}" type="pres">
      <dgm:prSet presAssocID="{3F321F2A-7F14-4474-9A84-AACE57F535C7}" presName="connector3" presStyleLbl="sibTrans2D1" presStyleIdx="2" presStyleCnt="3"/>
      <dgm:spPr/>
    </dgm:pt>
  </dgm:ptLst>
  <dgm:cxnLst>
    <dgm:cxn modelId="{9766DE00-CA45-4A45-8E23-B5F9C59E6E3B}" type="presOf" srcId="{417B0DA0-B280-4E70-9F40-F15F0A99376E}" destId="{D5C5273C-2F2E-414B-8D27-EC409C8E82CD}" srcOrd="3" destOrd="0" presId="urn:microsoft.com/office/officeart/2005/8/layout/gear1"/>
    <dgm:cxn modelId="{0A990F0A-DB9D-4BA5-9EDF-494B088A93B9}" type="presOf" srcId="{9161EB6D-C2C6-4213-B9F7-88CAA91CB57C}" destId="{2F33A196-232E-4C8F-8E97-6C834FA06E5B}" srcOrd="0" destOrd="0" presId="urn:microsoft.com/office/officeart/2005/8/layout/gear1"/>
    <dgm:cxn modelId="{5467820C-1813-40E7-9858-3C11BD166DB3}" srcId="{9161EB6D-C2C6-4213-B9F7-88CAA91CB57C}" destId="{9AEBA6C0-79A0-44D2-B845-FAABD962689B}" srcOrd="1" destOrd="0" parTransId="{E7C773CD-1312-47AB-93D3-92A1C7B9E0F1}" sibTransId="{5C3A83B3-65E8-4EA4-8090-5F03C71E7794}"/>
    <dgm:cxn modelId="{A76C4113-63E8-49A2-BC9A-C7EE840000C5}" type="presOf" srcId="{014541CA-0EF0-4CC4-998A-0FA3C65036FA}" destId="{2D48879D-4821-4377-8F76-F8A1E234604F}" srcOrd="2" destOrd="0" presId="urn:microsoft.com/office/officeart/2005/8/layout/gear1"/>
    <dgm:cxn modelId="{BC5A3815-3317-4F42-A8F7-129B9808C4AA}" type="presOf" srcId="{5C3A83B3-65E8-4EA4-8090-5F03C71E7794}" destId="{AEB54FCD-D54F-488F-AA34-91A169B80412}" srcOrd="0" destOrd="0" presId="urn:microsoft.com/office/officeart/2005/8/layout/gear1"/>
    <dgm:cxn modelId="{E80EF315-F2A4-47D3-8BDA-92AAD1D36E80}" type="presOf" srcId="{014541CA-0EF0-4CC4-998A-0FA3C65036FA}" destId="{CD70B63A-D229-4FD8-9261-6ECF2567BCDD}" srcOrd="1" destOrd="0" presId="urn:microsoft.com/office/officeart/2005/8/layout/gear1"/>
    <dgm:cxn modelId="{F1C7FB16-F812-4E29-9A4F-BC59F99BCD3A}" type="presOf" srcId="{9AEBA6C0-79A0-44D2-B845-FAABD962689B}" destId="{349D6A14-B2EB-4550-BE9E-371886C49BD5}" srcOrd="2" destOrd="0" presId="urn:microsoft.com/office/officeart/2005/8/layout/gear1"/>
    <dgm:cxn modelId="{132B7321-8231-4C69-A8B0-8BA23ED6D467}" type="presOf" srcId="{417B0DA0-B280-4E70-9F40-F15F0A99376E}" destId="{0AAE9EC8-CE22-48A7-ADBC-4CF166A95BC4}" srcOrd="0" destOrd="0" presId="urn:microsoft.com/office/officeart/2005/8/layout/gear1"/>
    <dgm:cxn modelId="{7845FD33-48B1-4974-824F-B5034E84D406}" srcId="{9161EB6D-C2C6-4213-B9F7-88CAA91CB57C}" destId="{FAF9B36F-A17D-4B08-A303-72728A471DCB}" srcOrd="3" destOrd="0" parTransId="{CC4B8755-07ED-4156-97B8-FE93F60DC007}" sibTransId="{D874FBD0-2A1F-441B-8CBE-3626E8E1FBF9}"/>
    <dgm:cxn modelId="{E0784464-BD8D-4F24-9C23-DA9500B28966}" srcId="{9161EB6D-C2C6-4213-B9F7-88CAA91CB57C}" destId="{014541CA-0EF0-4CC4-998A-0FA3C65036FA}" srcOrd="0" destOrd="0" parTransId="{09D437B2-F890-4EF5-8A6A-E2BFA8661865}" sibTransId="{E3654CC0-68B8-431F-A567-F4116D866ECE}"/>
    <dgm:cxn modelId="{63232345-073E-41EA-9639-9ED43C53D97F}" type="presOf" srcId="{9AEBA6C0-79A0-44D2-B845-FAABD962689B}" destId="{FF9AE293-BDC0-4C90-AA6E-D69C83658672}" srcOrd="0" destOrd="0" presId="urn:microsoft.com/office/officeart/2005/8/layout/gear1"/>
    <dgm:cxn modelId="{3653C148-C760-4F5C-A428-1B0E5374777B}" type="presOf" srcId="{E3654CC0-68B8-431F-A567-F4116D866ECE}" destId="{E034D4B5-D801-4F82-AFE4-52BBF52F8BA0}" srcOrd="0" destOrd="0" presId="urn:microsoft.com/office/officeart/2005/8/layout/gear1"/>
    <dgm:cxn modelId="{1B60FF72-1FB4-4F8F-802F-E950E3465359}" srcId="{9161EB6D-C2C6-4213-B9F7-88CAA91CB57C}" destId="{417B0DA0-B280-4E70-9F40-F15F0A99376E}" srcOrd="2" destOrd="0" parTransId="{67011E6C-ABF2-4093-A180-101DD2892934}" sibTransId="{3F321F2A-7F14-4474-9A84-AACE57F535C7}"/>
    <dgm:cxn modelId="{523EE778-8D0B-486C-B286-72C219421AA5}" type="presOf" srcId="{9AEBA6C0-79A0-44D2-B845-FAABD962689B}" destId="{51AF606A-70D8-4B44-863B-B9E05F8D3321}" srcOrd="1" destOrd="0" presId="urn:microsoft.com/office/officeart/2005/8/layout/gear1"/>
    <dgm:cxn modelId="{21E6519B-6AFA-4597-955F-20E0388497BE}" type="presOf" srcId="{014541CA-0EF0-4CC4-998A-0FA3C65036FA}" destId="{5782DE6C-1B0E-4F38-B584-0FD50CB6ABCE}" srcOrd="0" destOrd="0" presId="urn:microsoft.com/office/officeart/2005/8/layout/gear1"/>
    <dgm:cxn modelId="{2214CBD8-8543-4D23-AF1E-695C4F5F75A4}" type="presOf" srcId="{3F321F2A-7F14-4474-9A84-AACE57F535C7}" destId="{3CF7E405-3DE2-4F48-B5F3-74B79BC650ED}" srcOrd="0" destOrd="0" presId="urn:microsoft.com/office/officeart/2005/8/layout/gear1"/>
    <dgm:cxn modelId="{25F0BED9-C986-4339-AFAC-8385D5D1C5B0}" type="presOf" srcId="{417B0DA0-B280-4E70-9F40-F15F0A99376E}" destId="{33C83CBC-3F76-4713-821F-20BACC73A603}" srcOrd="2" destOrd="0" presId="urn:microsoft.com/office/officeart/2005/8/layout/gear1"/>
    <dgm:cxn modelId="{48EE8AED-7CC7-46BE-91C8-4B401CC7F9F6}" type="presOf" srcId="{417B0DA0-B280-4E70-9F40-F15F0A99376E}" destId="{5721CBF6-5B18-4E7C-AA88-F9CFBCAA5D1B}" srcOrd="1" destOrd="0" presId="urn:microsoft.com/office/officeart/2005/8/layout/gear1"/>
    <dgm:cxn modelId="{169D5200-3491-47A6-822B-FC2AD643D12F}" type="presParOf" srcId="{2F33A196-232E-4C8F-8E97-6C834FA06E5B}" destId="{5782DE6C-1B0E-4F38-B584-0FD50CB6ABCE}" srcOrd="0" destOrd="0" presId="urn:microsoft.com/office/officeart/2005/8/layout/gear1"/>
    <dgm:cxn modelId="{AE2012D4-7801-4D47-B298-9C41D0647654}" type="presParOf" srcId="{2F33A196-232E-4C8F-8E97-6C834FA06E5B}" destId="{CD70B63A-D229-4FD8-9261-6ECF2567BCDD}" srcOrd="1" destOrd="0" presId="urn:microsoft.com/office/officeart/2005/8/layout/gear1"/>
    <dgm:cxn modelId="{8F4C0B1A-7C63-4F52-8924-AAADAB97CBEC}" type="presParOf" srcId="{2F33A196-232E-4C8F-8E97-6C834FA06E5B}" destId="{2D48879D-4821-4377-8F76-F8A1E234604F}" srcOrd="2" destOrd="0" presId="urn:microsoft.com/office/officeart/2005/8/layout/gear1"/>
    <dgm:cxn modelId="{6E19CD3C-32F2-493D-B079-488E4547C710}" type="presParOf" srcId="{2F33A196-232E-4C8F-8E97-6C834FA06E5B}" destId="{FF9AE293-BDC0-4C90-AA6E-D69C83658672}" srcOrd="3" destOrd="0" presId="urn:microsoft.com/office/officeart/2005/8/layout/gear1"/>
    <dgm:cxn modelId="{A762C878-58A9-479F-B788-D84E58CC5E66}" type="presParOf" srcId="{2F33A196-232E-4C8F-8E97-6C834FA06E5B}" destId="{51AF606A-70D8-4B44-863B-B9E05F8D3321}" srcOrd="4" destOrd="0" presId="urn:microsoft.com/office/officeart/2005/8/layout/gear1"/>
    <dgm:cxn modelId="{084F3C4E-0512-452A-BD59-E16A660D31FA}" type="presParOf" srcId="{2F33A196-232E-4C8F-8E97-6C834FA06E5B}" destId="{349D6A14-B2EB-4550-BE9E-371886C49BD5}" srcOrd="5" destOrd="0" presId="urn:microsoft.com/office/officeart/2005/8/layout/gear1"/>
    <dgm:cxn modelId="{9A4D7DDB-4A7C-4BC9-A26C-C81096F1179E}" type="presParOf" srcId="{2F33A196-232E-4C8F-8E97-6C834FA06E5B}" destId="{0AAE9EC8-CE22-48A7-ADBC-4CF166A95BC4}" srcOrd="6" destOrd="0" presId="urn:microsoft.com/office/officeart/2005/8/layout/gear1"/>
    <dgm:cxn modelId="{9A64B3F1-6976-401C-B157-833CA9C0A0E2}" type="presParOf" srcId="{2F33A196-232E-4C8F-8E97-6C834FA06E5B}" destId="{5721CBF6-5B18-4E7C-AA88-F9CFBCAA5D1B}" srcOrd="7" destOrd="0" presId="urn:microsoft.com/office/officeart/2005/8/layout/gear1"/>
    <dgm:cxn modelId="{E1DB413D-0D14-4A22-BC4B-DBAA306BADD2}" type="presParOf" srcId="{2F33A196-232E-4C8F-8E97-6C834FA06E5B}" destId="{33C83CBC-3F76-4713-821F-20BACC73A603}" srcOrd="8" destOrd="0" presId="urn:microsoft.com/office/officeart/2005/8/layout/gear1"/>
    <dgm:cxn modelId="{85D3B88F-A39B-4E1E-AD0A-5B7825AFC127}" type="presParOf" srcId="{2F33A196-232E-4C8F-8E97-6C834FA06E5B}" destId="{D5C5273C-2F2E-414B-8D27-EC409C8E82CD}" srcOrd="9" destOrd="0" presId="urn:microsoft.com/office/officeart/2005/8/layout/gear1"/>
    <dgm:cxn modelId="{CF98488A-8902-4961-BE83-B23BBB306785}" type="presParOf" srcId="{2F33A196-232E-4C8F-8E97-6C834FA06E5B}" destId="{E034D4B5-D801-4F82-AFE4-52BBF52F8BA0}" srcOrd="10" destOrd="0" presId="urn:microsoft.com/office/officeart/2005/8/layout/gear1"/>
    <dgm:cxn modelId="{B44BAC27-D05A-4D7A-BFB3-55590E5558F9}" type="presParOf" srcId="{2F33A196-232E-4C8F-8E97-6C834FA06E5B}" destId="{AEB54FCD-D54F-488F-AA34-91A169B80412}" srcOrd="11" destOrd="0" presId="urn:microsoft.com/office/officeart/2005/8/layout/gear1"/>
    <dgm:cxn modelId="{D99EF8FA-914E-4E38-9891-40AE1C9EEF4E}" type="presParOf" srcId="{2F33A196-232E-4C8F-8E97-6C834FA06E5B}" destId="{3CF7E405-3DE2-4F48-B5F3-74B79BC650ED}"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19DCE38-D316-41ED-AAB9-EA422617151D}" type="doc">
      <dgm:prSet loTypeId="urn:microsoft.com/office/officeart/2005/8/layout/target2" loCatId="relationship" qsTypeId="urn:microsoft.com/office/officeart/2005/8/quickstyle/simple2" qsCatId="simple" csTypeId="urn:microsoft.com/office/officeart/2005/8/colors/accent0_3" csCatId="mainScheme" phldr="1"/>
      <dgm:spPr/>
      <dgm:t>
        <a:bodyPr/>
        <a:lstStyle/>
        <a:p>
          <a:endParaRPr lang="en-US"/>
        </a:p>
      </dgm:t>
    </dgm:pt>
    <dgm:pt modelId="{D4724838-346E-442F-AD2E-5CB8E0E1DE4A}">
      <dgm:prSet phldrT="[Text]" custT="1"/>
      <dgm:spPr/>
      <dgm:t>
        <a:bodyPr/>
        <a:lstStyle/>
        <a:p>
          <a:pPr algn="ctr"/>
          <a:r>
            <a:rPr lang="ar-EG" sz="1800" b="1" dirty="0"/>
            <a:t>يقترح تنفيذ تطبيق الكتروني من خلال موقع الشركة لبيع وتداول الحمأة يتم من خلاله العرض والطلب للحمأة عن طريق ادخال البيانات بواسطة المواقع الثلاثة وكميات الحمأة المتاحة للشراء وكذلك السعر المقترح ومن خلال التطبيق يمكن للمشتريين الاطلاع وعرض أسعار الشراء </a:t>
          </a:r>
          <a:endParaRPr lang="en-US" sz="1800" b="1" dirty="0"/>
        </a:p>
      </dgm:t>
    </dgm:pt>
    <dgm:pt modelId="{FD1BBEC2-D49D-42A8-B71C-11442E1DBF2A}" type="parTrans" cxnId="{50859602-4B83-4990-9F1D-23CA93246D1D}">
      <dgm:prSet/>
      <dgm:spPr/>
      <dgm:t>
        <a:bodyPr/>
        <a:lstStyle/>
        <a:p>
          <a:endParaRPr lang="en-US" sz="2000" b="1"/>
        </a:p>
      </dgm:t>
    </dgm:pt>
    <dgm:pt modelId="{5D4C404D-6B8D-4428-A754-D243E724880E}" type="sibTrans" cxnId="{50859602-4B83-4990-9F1D-23CA93246D1D}">
      <dgm:prSet/>
      <dgm:spPr/>
      <dgm:t>
        <a:bodyPr/>
        <a:lstStyle/>
        <a:p>
          <a:endParaRPr lang="en-US" sz="2000" b="1"/>
        </a:p>
      </dgm:t>
    </dgm:pt>
    <dgm:pt modelId="{6943ACC8-2216-4B5B-B8A3-F2F9A88B8466}">
      <dgm:prSet phldrT="[Text]" custT="1"/>
      <dgm:spPr/>
      <dgm:t>
        <a:bodyPr/>
        <a:lstStyle/>
        <a:p>
          <a:pPr>
            <a:buFont typeface="Symbol" panose="05050102010706020507" pitchFamily="18" charset="2"/>
            <a:buChar char=""/>
          </a:pPr>
          <a:r>
            <a:rPr lang="ar-EG" sz="1400" b="1" dirty="0"/>
            <a:t>منصة للتداول (البيع والشراء) وبالتالي تحقيق اعلي عائد من خلال التنافس بين المشتريين</a:t>
          </a:r>
          <a:endParaRPr lang="en-US" sz="1400" b="1" dirty="0"/>
        </a:p>
      </dgm:t>
    </dgm:pt>
    <dgm:pt modelId="{A3FC2BAB-E034-46DA-AB11-52D36C38A07E}" type="parTrans" cxnId="{DAE2DF02-4C9E-4F49-852E-4F264134A190}">
      <dgm:prSet/>
      <dgm:spPr/>
      <dgm:t>
        <a:bodyPr/>
        <a:lstStyle/>
        <a:p>
          <a:endParaRPr lang="en-US" sz="2000" b="1"/>
        </a:p>
      </dgm:t>
    </dgm:pt>
    <dgm:pt modelId="{3B748F60-2721-48BF-A18C-F77039385C4D}" type="sibTrans" cxnId="{DAE2DF02-4C9E-4F49-852E-4F264134A190}">
      <dgm:prSet/>
      <dgm:spPr/>
      <dgm:t>
        <a:bodyPr/>
        <a:lstStyle/>
        <a:p>
          <a:endParaRPr lang="en-US" sz="2000" b="1"/>
        </a:p>
      </dgm:t>
    </dgm:pt>
    <dgm:pt modelId="{27972D73-7A78-4546-A566-4D72DF40E15F}">
      <dgm:prSet phldrT="[Text]" custT="1"/>
      <dgm:spPr/>
      <dgm:t>
        <a:bodyPr/>
        <a:lstStyle/>
        <a:p>
          <a:r>
            <a:rPr lang="ar-SA" sz="1400" b="1" dirty="0"/>
            <a:t>ا</a:t>
          </a:r>
          <a:r>
            <a:rPr lang="ar-EG" sz="1400" b="1" dirty="0"/>
            <a:t>لإعلان عن المنتج بصورة مختلفة وإمكانية ارفاق التحاليل ونصائح الاستخدام</a:t>
          </a:r>
          <a:endParaRPr lang="en-US" sz="1400" b="1" dirty="0"/>
        </a:p>
      </dgm:t>
    </dgm:pt>
    <dgm:pt modelId="{05E11F49-05B6-4056-BF27-BE85E6303706}" type="parTrans" cxnId="{F1B1E83B-1A9B-400F-87B4-4B006F3CD148}">
      <dgm:prSet/>
      <dgm:spPr/>
      <dgm:t>
        <a:bodyPr/>
        <a:lstStyle/>
        <a:p>
          <a:endParaRPr lang="en-US" sz="2000" b="1"/>
        </a:p>
      </dgm:t>
    </dgm:pt>
    <dgm:pt modelId="{4ABD5FC1-1653-4EDA-BF4B-B220D0198AC0}" type="sibTrans" cxnId="{F1B1E83B-1A9B-400F-87B4-4B006F3CD148}">
      <dgm:prSet/>
      <dgm:spPr/>
      <dgm:t>
        <a:bodyPr/>
        <a:lstStyle/>
        <a:p>
          <a:endParaRPr lang="en-US" sz="2000" b="1"/>
        </a:p>
      </dgm:t>
    </dgm:pt>
    <dgm:pt modelId="{A7C43BB1-0479-4DD5-AD18-861362305695}">
      <dgm:prSet phldrT="[Text]" custT="1"/>
      <dgm:spPr/>
      <dgm:t>
        <a:bodyPr/>
        <a:lstStyle/>
        <a:p>
          <a:pPr>
            <a:buFont typeface="Symbol" panose="05050102010706020507" pitchFamily="18" charset="2"/>
            <a:buChar char=""/>
          </a:pPr>
          <a:r>
            <a:rPr lang="ar-EG" sz="1400" b="1"/>
            <a:t>إمكانية إضافة أسلوب لتقييم عمليات البيع وجودة المنتج </a:t>
          </a:r>
          <a:endParaRPr lang="en-US" sz="1400" b="1" dirty="0"/>
        </a:p>
      </dgm:t>
    </dgm:pt>
    <dgm:pt modelId="{E219931F-162D-4A33-B8B0-7C0EEAB9FA89}" type="parTrans" cxnId="{02B2E958-6460-4A4A-BF92-9DF5EE09BF56}">
      <dgm:prSet/>
      <dgm:spPr/>
      <dgm:t>
        <a:bodyPr/>
        <a:lstStyle/>
        <a:p>
          <a:endParaRPr lang="en-US" sz="2000" b="1"/>
        </a:p>
      </dgm:t>
    </dgm:pt>
    <dgm:pt modelId="{DE1E90D7-7E8E-4608-99D5-19565E6BC06D}" type="sibTrans" cxnId="{02B2E958-6460-4A4A-BF92-9DF5EE09BF56}">
      <dgm:prSet/>
      <dgm:spPr/>
      <dgm:t>
        <a:bodyPr/>
        <a:lstStyle/>
        <a:p>
          <a:endParaRPr lang="en-US" sz="2000" b="1"/>
        </a:p>
      </dgm:t>
    </dgm:pt>
    <dgm:pt modelId="{5028159E-6184-4859-B9B4-79081A959C70}">
      <dgm:prSet phldrT="[Text]" custT="1"/>
      <dgm:spPr/>
      <dgm:t>
        <a:bodyPr/>
        <a:lstStyle/>
        <a:p>
          <a:pPr>
            <a:buFont typeface="Symbol" panose="05050102010706020507" pitchFamily="18" charset="2"/>
            <a:buChar char=""/>
          </a:pPr>
          <a:r>
            <a:rPr lang="ar-EG" sz="1400" b="1"/>
            <a:t>إمكانية التحكم في الكميات المباعة وبالتالي استدامة المشروع</a:t>
          </a:r>
          <a:endParaRPr lang="en-US" sz="1400" b="1" dirty="0"/>
        </a:p>
      </dgm:t>
    </dgm:pt>
    <dgm:pt modelId="{C3E4FC3C-F434-49D7-93C7-4BEF916EE483}" type="parTrans" cxnId="{3B0AD2AE-CC63-405C-B029-E7BB4BE87A10}">
      <dgm:prSet/>
      <dgm:spPr/>
      <dgm:t>
        <a:bodyPr/>
        <a:lstStyle/>
        <a:p>
          <a:endParaRPr lang="en-US" sz="2000" b="1"/>
        </a:p>
      </dgm:t>
    </dgm:pt>
    <dgm:pt modelId="{E46DCEC2-6467-4220-A532-67AD26653B65}" type="sibTrans" cxnId="{3B0AD2AE-CC63-405C-B029-E7BB4BE87A10}">
      <dgm:prSet/>
      <dgm:spPr/>
      <dgm:t>
        <a:bodyPr/>
        <a:lstStyle/>
        <a:p>
          <a:endParaRPr lang="en-US" sz="2000" b="1"/>
        </a:p>
      </dgm:t>
    </dgm:pt>
    <dgm:pt modelId="{50B113A7-0723-4FFF-B68B-F3EFBF1A2F71}" type="pres">
      <dgm:prSet presAssocID="{319DCE38-D316-41ED-AAB9-EA422617151D}" presName="Name0" presStyleCnt="0">
        <dgm:presLayoutVars>
          <dgm:chMax val="3"/>
          <dgm:chPref val="1"/>
          <dgm:dir/>
          <dgm:animLvl val="lvl"/>
          <dgm:resizeHandles/>
        </dgm:presLayoutVars>
      </dgm:prSet>
      <dgm:spPr/>
    </dgm:pt>
    <dgm:pt modelId="{CDABE7D5-FF11-43F8-977D-C97A6508F0AC}" type="pres">
      <dgm:prSet presAssocID="{319DCE38-D316-41ED-AAB9-EA422617151D}" presName="outerBox" presStyleCnt="0"/>
      <dgm:spPr/>
    </dgm:pt>
    <dgm:pt modelId="{985A298E-F5F1-4A30-BF38-3E167CF55152}" type="pres">
      <dgm:prSet presAssocID="{319DCE38-D316-41ED-AAB9-EA422617151D}" presName="outerBoxParent" presStyleLbl="node1" presStyleIdx="0" presStyleCnt="1" custLinFactNeighborX="-1488" custLinFactNeighborY="-76"/>
      <dgm:spPr/>
    </dgm:pt>
    <dgm:pt modelId="{441C577E-C288-4418-BAED-F17E1970048A}" type="pres">
      <dgm:prSet presAssocID="{319DCE38-D316-41ED-AAB9-EA422617151D}" presName="outerBoxChildren" presStyleCnt="0"/>
      <dgm:spPr/>
    </dgm:pt>
    <dgm:pt modelId="{5A4EA0FF-72F0-4799-8B7A-1289C66380D0}" type="pres">
      <dgm:prSet presAssocID="{6943ACC8-2216-4B5B-B8A3-F2F9A88B8466}" presName="oChild" presStyleLbl="fgAcc1" presStyleIdx="0" presStyleCnt="4">
        <dgm:presLayoutVars>
          <dgm:bulletEnabled val="1"/>
        </dgm:presLayoutVars>
      </dgm:prSet>
      <dgm:spPr/>
    </dgm:pt>
    <dgm:pt modelId="{613837DE-1E66-44AA-9649-85B69DB1B665}" type="pres">
      <dgm:prSet presAssocID="{3B748F60-2721-48BF-A18C-F77039385C4D}" presName="outerSibTrans" presStyleCnt="0"/>
      <dgm:spPr/>
    </dgm:pt>
    <dgm:pt modelId="{B5B0DAF0-7731-4D40-8357-41544BEDB691}" type="pres">
      <dgm:prSet presAssocID="{27972D73-7A78-4546-A566-4D72DF40E15F}" presName="oChild" presStyleLbl="fgAcc1" presStyleIdx="1" presStyleCnt="4">
        <dgm:presLayoutVars>
          <dgm:bulletEnabled val="1"/>
        </dgm:presLayoutVars>
      </dgm:prSet>
      <dgm:spPr/>
    </dgm:pt>
    <dgm:pt modelId="{0D9790B9-D08C-4EBB-ABEF-937858281D0A}" type="pres">
      <dgm:prSet presAssocID="{4ABD5FC1-1653-4EDA-BF4B-B220D0198AC0}" presName="outerSibTrans" presStyleCnt="0"/>
      <dgm:spPr/>
    </dgm:pt>
    <dgm:pt modelId="{6DCF5EE7-6DAB-4B04-8654-C71D8FFAA9CA}" type="pres">
      <dgm:prSet presAssocID="{A7C43BB1-0479-4DD5-AD18-861362305695}" presName="oChild" presStyleLbl="fgAcc1" presStyleIdx="2" presStyleCnt="4">
        <dgm:presLayoutVars>
          <dgm:bulletEnabled val="1"/>
        </dgm:presLayoutVars>
      </dgm:prSet>
      <dgm:spPr/>
    </dgm:pt>
    <dgm:pt modelId="{491E38D3-672F-439C-94A0-04094AF268A4}" type="pres">
      <dgm:prSet presAssocID="{DE1E90D7-7E8E-4608-99D5-19565E6BC06D}" presName="outerSibTrans" presStyleCnt="0"/>
      <dgm:spPr/>
    </dgm:pt>
    <dgm:pt modelId="{479AF2EB-31D0-4398-A43C-55135CA228ED}" type="pres">
      <dgm:prSet presAssocID="{5028159E-6184-4859-B9B4-79081A959C70}" presName="oChild" presStyleLbl="fgAcc1" presStyleIdx="3" presStyleCnt="4">
        <dgm:presLayoutVars>
          <dgm:bulletEnabled val="1"/>
        </dgm:presLayoutVars>
      </dgm:prSet>
      <dgm:spPr/>
    </dgm:pt>
  </dgm:ptLst>
  <dgm:cxnLst>
    <dgm:cxn modelId="{50859602-4B83-4990-9F1D-23CA93246D1D}" srcId="{319DCE38-D316-41ED-AAB9-EA422617151D}" destId="{D4724838-346E-442F-AD2E-5CB8E0E1DE4A}" srcOrd="0" destOrd="0" parTransId="{FD1BBEC2-D49D-42A8-B71C-11442E1DBF2A}" sibTransId="{5D4C404D-6B8D-4428-A754-D243E724880E}"/>
    <dgm:cxn modelId="{DAE2DF02-4C9E-4F49-852E-4F264134A190}" srcId="{D4724838-346E-442F-AD2E-5CB8E0E1DE4A}" destId="{6943ACC8-2216-4B5B-B8A3-F2F9A88B8466}" srcOrd="0" destOrd="0" parTransId="{A3FC2BAB-E034-46DA-AB11-52D36C38A07E}" sibTransId="{3B748F60-2721-48BF-A18C-F77039385C4D}"/>
    <dgm:cxn modelId="{E3362B21-523D-42C1-A79E-CAE3ECA74618}" type="presOf" srcId="{27972D73-7A78-4546-A566-4D72DF40E15F}" destId="{B5B0DAF0-7731-4D40-8357-41544BEDB691}" srcOrd="0" destOrd="0" presId="urn:microsoft.com/office/officeart/2005/8/layout/target2"/>
    <dgm:cxn modelId="{F1B1E83B-1A9B-400F-87B4-4B006F3CD148}" srcId="{D4724838-346E-442F-AD2E-5CB8E0E1DE4A}" destId="{27972D73-7A78-4546-A566-4D72DF40E15F}" srcOrd="1" destOrd="0" parTransId="{05E11F49-05B6-4056-BF27-BE85E6303706}" sibTransId="{4ABD5FC1-1653-4EDA-BF4B-B220D0198AC0}"/>
    <dgm:cxn modelId="{2D54A83D-47DA-49E9-9037-F1942C66818D}" type="presOf" srcId="{319DCE38-D316-41ED-AAB9-EA422617151D}" destId="{50B113A7-0723-4FFF-B68B-F3EFBF1A2F71}" srcOrd="0" destOrd="0" presId="urn:microsoft.com/office/officeart/2005/8/layout/target2"/>
    <dgm:cxn modelId="{9887A86C-3C37-4686-A4D8-2F63FB6980B3}" type="presOf" srcId="{5028159E-6184-4859-B9B4-79081A959C70}" destId="{479AF2EB-31D0-4398-A43C-55135CA228ED}" srcOrd="0" destOrd="0" presId="urn:microsoft.com/office/officeart/2005/8/layout/target2"/>
    <dgm:cxn modelId="{9BC17278-CA09-453A-80F9-166E037CF75C}" type="presOf" srcId="{6943ACC8-2216-4B5B-B8A3-F2F9A88B8466}" destId="{5A4EA0FF-72F0-4799-8B7A-1289C66380D0}" srcOrd="0" destOrd="0" presId="urn:microsoft.com/office/officeart/2005/8/layout/target2"/>
    <dgm:cxn modelId="{02B2E958-6460-4A4A-BF92-9DF5EE09BF56}" srcId="{D4724838-346E-442F-AD2E-5CB8E0E1DE4A}" destId="{A7C43BB1-0479-4DD5-AD18-861362305695}" srcOrd="2" destOrd="0" parTransId="{E219931F-162D-4A33-B8B0-7C0EEAB9FA89}" sibTransId="{DE1E90D7-7E8E-4608-99D5-19565E6BC06D}"/>
    <dgm:cxn modelId="{658E107F-5F6D-45D8-83A9-3EBD32D78A17}" type="presOf" srcId="{A7C43BB1-0479-4DD5-AD18-861362305695}" destId="{6DCF5EE7-6DAB-4B04-8654-C71D8FFAA9CA}" srcOrd="0" destOrd="0" presId="urn:microsoft.com/office/officeart/2005/8/layout/target2"/>
    <dgm:cxn modelId="{CBC10285-A142-499F-9893-8176A0B12B98}" type="presOf" srcId="{D4724838-346E-442F-AD2E-5CB8E0E1DE4A}" destId="{985A298E-F5F1-4A30-BF38-3E167CF55152}" srcOrd="0" destOrd="0" presId="urn:microsoft.com/office/officeart/2005/8/layout/target2"/>
    <dgm:cxn modelId="{3B0AD2AE-CC63-405C-B029-E7BB4BE87A10}" srcId="{D4724838-346E-442F-AD2E-5CB8E0E1DE4A}" destId="{5028159E-6184-4859-B9B4-79081A959C70}" srcOrd="3" destOrd="0" parTransId="{C3E4FC3C-F434-49D7-93C7-4BEF916EE483}" sibTransId="{E46DCEC2-6467-4220-A532-67AD26653B65}"/>
    <dgm:cxn modelId="{D0929656-68E2-4523-A298-2AEF115DEFE7}" type="presParOf" srcId="{50B113A7-0723-4FFF-B68B-F3EFBF1A2F71}" destId="{CDABE7D5-FF11-43F8-977D-C97A6508F0AC}" srcOrd="0" destOrd="0" presId="urn:microsoft.com/office/officeart/2005/8/layout/target2"/>
    <dgm:cxn modelId="{C5727C75-DDF5-43B9-ACD0-5AFA96DC471F}" type="presParOf" srcId="{CDABE7D5-FF11-43F8-977D-C97A6508F0AC}" destId="{985A298E-F5F1-4A30-BF38-3E167CF55152}" srcOrd="0" destOrd="0" presId="urn:microsoft.com/office/officeart/2005/8/layout/target2"/>
    <dgm:cxn modelId="{043E1467-E7F3-438D-B675-E923AD8F0622}" type="presParOf" srcId="{CDABE7D5-FF11-43F8-977D-C97A6508F0AC}" destId="{441C577E-C288-4418-BAED-F17E1970048A}" srcOrd="1" destOrd="0" presId="urn:microsoft.com/office/officeart/2005/8/layout/target2"/>
    <dgm:cxn modelId="{C319049C-5615-43C1-A553-448D12136E40}" type="presParOf" srcId="{441C577E-C288-4418-BAED-F17E1970048A}" destId="{5A4EA0FF-72F0-4799-8B7A-1289C66380D0}" srcOrd="0" destOrd="0" presId="urn:microsoft.com/office/officeart/2005/8/layout/target2"/>
    <dgm:cxn modelId="{575E4D2A-6866-4FA9-A234-A92D921826CB}" type="presParOf" srcId="{441C577E-C288-4418-BAED-F17E1970048A}" destId="{613837DE-1E66-44AA-9649-85B69DB1B665}" srcOrd="1" destOrd="0" presId="urn:microsoft.com/office/officeart/2005/8/layout/target2"/>
    <dgm:cxn modelId="{4D0D09B5-A900-4E12-B27A-1D05BD25289F}" type="presParOf" srcId="{441C577E-C288-4418-BAED-F17E1970048A}" destId="{B5B0DAF0-7731-4D40-8357-41544BEDB691}" srcOrd="2" destOrd="0" presId="urn:microsoft.com/office/officeart/2005/8/layout/target2"/>
    <dgm:cxn modelId="{81AEFC7E-3492-43C8-BAF5-648BA3C690AC}" type="presParOf" srcId="{441C577E-C288-4418-BAED-F17E1970048A}" destId="{0D9790B9-D08C-4EBB-ABEF-937858281D0A}" srcOrd="3" destOrd="0" presId="urn:microsoft.com/office/officeart/2005/8/layout/target2"/>
    <dgm:cxn modelId="{48DC4A30-7DCE-46C7-B15A-636786F3838B}" type="presParOf" srcId="{441C577E-C288-4418-BAED-F17E1970048A}" destId="{6DCF5EE7-6DAB-4B04-8654-C71D8FFAA9CA}" srcOrd="4" destOrd="0" presId="urn:microsoft.com/office/officeart/2005/8/layout/target2"/>
    <dgm:cxn modelId="{D2681ED8-65E2-40E1-86D0-8E468F3F55F7}" type="presParOf" srcId="{441C577E-C288-4418-BAED-F17E1970048A}" destId="{491E38D3-672F-439C-94A0-04094AF268A4}" srcOrd="5" destOrd="0" presId="urn:microsoft.com/office/officeart/2005/8/layout/target2"/>
    <dgm:cxn modelId="{8EC770DD-884B-4199-85B7-8DF715AD8B39}" type="presParOf" srcId="{441C577E-C288-4418-BAED-F17E1970048A}" destId="{479AF2EB-31D0-4398-A43C-55135CA228ED}" srcOrd="6" destOrd="0" presId="urn:microsoft.com/office/officeart/2005/8/layout/targe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0E2F1-951D-4954-93E9-3EBE51C3D4E7}">
      <dsp:nvSpPr>
        <dsp:cNvPr id="0" name=""/>
        <dsp:cNvSpPr/>
      </dsp:nvSpPr>
      <dsp:spPr>
        <a:xfrm>
          <a:off x="0" y="261"/>
          <a:ext cx="8969159"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D0F119B7-8D75-4AEB-AD76-F81606946FE4}">
      <dsp:nvSpPr>
        <dsp:cNvPr id="0" name=""/>
        <dsp:cNvSpPr/>
      </dsp:nvSpPr>
      <dsp:spPr>
        <a:xfrm>
          <a:off x="0" y="261"/>
          <a:ext cx="8969159" cy="427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r" defTabSz="844550" rtl="1">
            <a:lnSpc>
              <a:spcPct val="90000"/>
            </a:lnSpc>
            <a:spcBef>
              <a:spcPct val="0"/>
            </a:spcBef>
            <a:spcAft>
              <a:spcPct val="35000"/>
            </a:spcAft>
            <a:buFont typeface="+mj-lt"/>
            <a:buNone/>
          </a:pPr>
          <a:r>
            <a:rPr lang="ar-EG" sz="1900" b="1" kern="1200" dirty="0"/>
            <a:t>م. عامر كمال </a:t>
          </a:r>
          <a:r>
            <a:rPr lang="ar-EG" sz="1900" b="1" kern="1200" dirty="0" err="1"/>
            <a:t>أبوحلاوة</a:t>
          </a:r>
          <a:r>
            <a:rPr lang="ar-EG" sz="1900" b="1" kern="1200" dirty="0"/>
            <a:t> – رئيس شركة</a:t>
          </a:r>
          <a:r>
            <a:rPr lang="en-US" sz="1900" b="1" kern="1200" dirty="0"/>
            <a:t> </a:t>
          </a:r>
          <a:r>
            <a:rPr lang="ar-EG" sz="1900" b="1" kern="1200" dirty="0"/>
            <a:t> مياه الشرب والصفر الصحي بالشرقية – رئيس الفريق</a:t>
          </a:r>
          <a:endParaRPr lang="en-US" sz="1900" b="1" kern="1200" dirty="0"/>
        </a:p>
      </dsp:txBody>
      <dsp:txXfrm>
        <a:off x="0" y="261"/>
        <a:ext cx="8969159" cy="427649"/>
      </dsp:txXfrm>
    </dsp:sp>
    <dsp:sp modelId="{D641CD27-FD1C-4BF2-B128-D151F45CE5E6}">
      <dsp:nvSpPr>
        <dsp:cNvPr id="0" name=""/>
        <dsp:cNvSpPr/>
      </dsp:nvSpPr>
      <dsp:spPr>
        <a:xfrm>
          <a:off x="0" y="427910"/>
          <a:ext cx="8969159"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B0CB0A0-E106-4E4A-9583-6BE617C05E10}">
      <dsp:nvSpPr>
        <dsp:cNvPr id="0" name=""/>
        <dsp:cNvSpPr/>
      </dsp:nvSpPr>
      <dsp:spPr>
        <a:xfrm>
          <a:off x="0" y="427910"/>
          <a:ext cx="8969159" cy="427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r" defTabSz="844550" rtl="1">
            <a:lnSpc>
              <a:spcPct val="90000"/>
            </a:lnSpc>
            <a:spcBef>
              <a:spcPct val="0"/>
            </a:spcBef>
            <a:spcAft>
              <a:spcPct val="35000"/>
            </a:spcAft>
            <a:buFont typeface="+mj-lt"/>
            <a:buNone/>
          </a:pPr>
          <a:r>
            <a:rPr lang="ar-EG" sz="1900" b="1" kern="1200" dirty="0"/>
            <a:t>د .محمود عبد الرحمن سعد – مدير إدارة سلامة ومأمونيه المياه بالشركة القابضة – مشرف عام الفريق</a:t>
          </a:r>
          <a:endParaRPr lang="en-US" sz="1900" b="1" kern="1200" dirty="0"/>
        </a:p>
      </dsp:txBody>
      <dsp:txXfrm>
        <a:off x="0" y="427910"/>
        <a:ext cx="8969159" cy="427649"/>
      </dsp:txXfrm>
    </dsp:sp>
    <dsp:sp modelId="{D450CD6E-AF9E-4865-B25A-04D1A1C8378F}">
      <dsp:nvSpPr>
        <dsp:cNvPr id="0" name=""/>
        <dsp:cNvSpPr/>
      </dsp:nvSpPr>
      <dsp:spPr>
        <a:xfrm>
          <a:off x="0" y="855559"/>
          <a:ext cx="8969159"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9B855BBD-E251-4DD9-AA94-A72A6063B77B}">
      <dsp:nvSpPr>
        <dsp:cNvPr id="0" name=""/>
        <dsp:cNvSpPr/>
      </dsp:nvSpPr>
      <dsp:spPr>
        <a:xfrm>
          <a:off x="0" y="855559"/>
          <a:ext cx="8969159" cy="427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r" defTabSz="844550" rtl="1">
            <a:lnSpc>
              <a:spcPct val="90000"/>
            </a:lnSpc>
            <a:spcBef>
              <a:spcPct val="0"/>
            </a:spcBef>
            <a:spcAft>
              <a:spcPct val="35000"/>
            </a:spcAft>
            <a:buFont typeface="+mj-lt"/>
            <a:buNone/>
          </a:pPr>
          <a:r>
            <a:rPr lang="ar-EG" sz="1900" b="1" kern="1200" dirty="0"/>
            <a:t>د. احمد جمال سيد – مدير شئون البيئة بالشركة القابضة – عضو بفريق العمل</a:t>
          </a:r>
          <a:endParaRPr lang="en-US" sz="1900" b="1" kern="1200" dirty="0"/>
        </a:p>
      </dsp:txBody>
      <dsp:txXfrm>
        <a:off x="0" y="855559"/>
        <a:ext cx="8969159" cy="427649"/>
      </dsp:txXfrm>
    </dsp:sp>
    <dsp:sp modelId="{8B1BA4B3-4BFE-45A1-87B0-E28D6A1815E2}">
      <dsp:nvSpPr>
        <dsp:cNvPr id="0" name=""/>
        <dsp:cNvSpPr/>
      </dsp:nvSpPr>
      <dsp:spPr>
        <a:xfrm>
          <a:off x="0" y="1283208"/>
          <a:ext cx="8969159"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D56FECF3-1F7F-43EA-A2A5-0A523A813648}">
      <dsp:nvSpPr>
        <dsp:cNvPr id="0" name=""/>
        <dsp:cNvSpPr/>
      </dsp:nvSpPr>
      <dsp:spPr>
        <a:xfrm>
          <a:off x="0" y="1283208"/>
          <a:ext cx="8969159" cy="427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r" defTabSz="844550" rtl="1">
            <a:lnSpc>
              <a:spcPct val="90000"/>
            </a:lnSpc>
            <a:spcBef>
              <a:spcPct val="0"/>
            </a:spcBef>
            <a:spcAft>
              <a:spcPct val="35000"/>
            </a:spcAft>
            <a:buFont typeface="+mj-lt"/>
            <a:buNone/>
          </a:pPr>
          <a:r>
            <a:rPr lang="ar-EG" sz="1900" b="1" kern="1200" dirty="0"/>
            <a:t>د. اميره هاني محمد عبدالعال – مدير اداره مأمونيه تداول الصرف الصحي بشركه الشرقية – منسق الفريق </a:t>
          </a:r>
          <a:endParaRPr lang="en-US" sz="1900" b="1" kern="1200" dirty="0"/>
        </a:p>
      </dsp:txBody>
      <dsp:txXfrm>
        <a:off x="0" y="1283208"/>
        <a:ext cx="8969159" cy="427649"/>
      </dsp:txXfrm>
    </dsp:sp>
    <dsp:sp modelId="{7EA164AD-03CB-4A9F-86B0-7941AFEF8678}">
      <dsp:nvSpPr>
        <dsp:cNvPr id="0" name=""/>
        <dsp:cNvSpPr/>
      </dsp:nvSpPr>
      <dsp:spPr>
        <a:xfrm>
          <a:off x="0" y="1710857"/>
          <a:ext cx="8969159" cy="0"/>
        </a:xfrm>
        <a:prstGeom prst="lin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BDE9BF47-681E-4E4F-90E7-015DFE14AFA4}">
      <dsp:nvSpPr>
        <dsp:cNvPr id="0" name=""/>
        <dsp:cNvSpPr/>
      </dsp:nvSpPr>
      <dsp:spPr>
        <a:xfrm>
          <a:off x="0" y="1710857"/>
          <a:ext cx="8969159" cy="427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r" defTabSz="844550" rtl="1">
            <a:lnSpc>
              <a:spcPct val="90000"/>
            </a:lnSpc>
            <a:spcBef>
              <a:spcPct val="0"/>
            </a:spcBef>
            <a:spcAft>
              <a:spcPct val="35000"/>
            </a:spcAft>
            <a:buFont typeface="+mj-lt"/>
            <a:buNone/>
          </a:pPr>
          <a:r>
            <a:rPr lang="ar-EG" sz="1900" b="1" kern="1200" dirty="0"/>
            <a:t>د. اسماء الحسيني صديق – كيميائي إدارة المأمونية – عضو بفريق العمل</a:t>
          </a:r>
          <a:endParaRPr lang="en-US" sz="1900" b="1" kern="1200" dirty="0"/>
        </a:p>
      </dsp:txBody>
      <dsp:txXfrm>
        <a:off x="0" y="1710857"/>
        <a:ext cx="8969159" cy="4276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522B0D-4458-4EE6-AB85-922375730E19}">
      <dsp:nvSpPr>
        <dsp:cNvPr id="0" name=""/>
        <dsp:cNvSpPr/>
      </dsp:nvSpPr>
      <dsp:spPr>
        <a:xfrm>
          <a:off x="2359615" y="1582842"/>
          <a:ext cx="1084170" cy="102067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ar-EG" sz="1800" b="1" kern="1200" dirty="0"/>
            <a:t>الفئات المستفيدة</a:t>
          </a:r>
          <a:endParaRPr lang="en-US" sz="1800" b="1" kern="1200" dirty="0"/>
        </a:p>
      </dsp:txBody>
      <dsp:txXfrm>
        <a:off x="2409440" y="1632667"/>
        <a:ext cx="984520" cy="921024"/>
      </dsp:txXfrm>
    </dsp:sp>
    <dsp:sp modelId="{76C4E86A-16FD-418F-A952-B658DD3FA026}">
      <dsp:nvSpPr>
        <dsp:cNvPr id="0" name=""/>
        <dsp:cNvSpPr/>
      </dsp:nvSpPr>
      <dsp:spPr>
        <a:xfrm rot="16200000">
          <a:off x="2543720" y="1224862"/>
          <a:ext cx="715960" cy="0"/>
        </a:xfrm>
        <a:custGeom>
          <a:avLst/>
          <a:gdLst/>
          <a:ahLst/>
          <a:cxnLst/>
          <a:rect l="0" t="0" r="0" b="0"/>
          <a:pathLst>
            <a:path>
              <a:moveTo>
                <a:pt x="0" y="0"/>
              </a:moveTo>
              <a:lnTo>
                <a:pt x="715960"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133DFE-5CF4-409F-A40C-B5E39A591C5F}">
      <dsp:nvSpPr>
        <dsp:cNvPr id="0" name=""/>
        <dsp:cNvSpPr/>
      </dsp:nvSpPr>
      <dsp:spPr>
        <a:xfrm>
          <a:off x="2381908" y="183030"/>
          <a:ext cx="1039584" cy="68385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488950">
            <a:lnSpc>
              <a:spcPct val="90000"/>
            </a:lnSpc>
            <a:spcBef>
              <a:spcPct val="0"/>
            </a:spcBef>
            <a:spcAft>
              <a:spcPct val="35000"/>
            </a:spcAft>
            <a:buNone/>
          </a:pPr>
          <a:r>
            <a:rPr lang="ar-EG" sz="1100" b="1" kern="1200" dirty="0"/>
            <a:t>المزارعين والعمالة الموقتة</a:t>
          </a:r>
          <a:endParaRPr lang="en-US" sz="1100" b="1" kern="1200" dirty="0"/>
        </a:p>
      </dsp:txBody>
      <dsp:txXfrm>
        <a:off x="2415291" y="216413"/>
        <a:ext cx="972818" cy="617085"/>
      </dsp:txXfrm>
    </dsp:sp>
    <dsp:sp modelId="{948AE4D5-C41F-40A7-974C-1AB379B57104}">
      <dsp:nvSpPr>
        <dsp:cNvPr id="0" name=""/>
        <dsp:cNvSpPr/>
      </dsp:nvSpPr>
      <dsp:spPr>
        <a:xfrm rot="1800000">
          <a:off x="3425030" y="2476149"/>
          <a:ext cx="279987" cy="0"/>
        </a:xfrm>
        <a:custGeom>
          <a:avLst/>
          <a:gdLst/>
          <a:ahLst/>
          <a:cxnLst/>
          <a:rect l="0" t="0" r="0" b="0"/>
          <a:pathLst>
            <a:path>
              <a:moveTo>
                <a:pt x="0" y="0"/>
              </a:moveTo>
              <a:lnTo>
                <a:pt x="279987"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67B0C6F-4F38-4E44-B6D6-EC1E95AB9D3A}">
      <dsp:nvSpPr>
        <dsp:cNvPr id="0" name=""/>
        <dsp:cNvSpPr/>
      </dsp:nvSpPr>
      <dsp:spPr>
        <a:xfrm>
          <a:off x="3686262" y="2535365"/>
          <a:ext cx="1147120" cy="68385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ct val="35000"/>
            </a:spcAft>
            <a:buNone/>
          </a:pPr>
          <a:r>
            <a:rPr lang="ar-EG" sz="1400" b="1" kern="1200" dirty="0"/>
            <a:t>الأطفال والمرأة </a:t>
          </a:r>
          <a:endParaRPr lang="en-US" sz="1400" b="1" kern="1200" dirty="0"/>
        </a:p>
      </dsp:txBody>
      <dsp:txXfrm>
        <a:off x="3719645" y="2568748"/>
        <a:ext cx="1080354" cy="617085"/>
      </dsp:txXfrm>
    </dsp:sp>
    <dsp:sp modelId="{7EBC2A03-E431-4DDA-A4BB-F3E05B1D6EC7}">
      <dsp:nvSpPr>
        <dsp:cNvPr id="0" name=""/>
        <dsp:cNvSpPr/>
      </dsp:nvSpPr>
      <dsp:spPr>
        <a:xfrm rot="9000000">
          <a:off x="1848832" y="2543016"/>
          <a:ext cx="547455" cy="0"/>
        </a:xfrm>
        <a:custGeom>
          <a:avLst/>
          <a:gdLst/>
          <a:ahLst/>
          <a:cxnLst/>
          <a:rect l="0" t="0" r="0" b="0"/>
          <a:pathLst>
            <a:path>
              <a:moveTo>
                <a:pt x="0" y="0"/>
              </a:moveTo>
              <a:lnTo>
                <a:pt x="547455"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A50B0D-E6C7-4879-A694-FC2073CC99C5}">
      <dsp:nvSpPr>
        <dsp:cNvPr id="0" name=""/>
        <dsp:cNvSpPr/>
      </dsp:nvSpPr>
      <dsp:spPr>
        <a:xfrm>
          <a:off x="1201653" y="2535365"/>
          <a:ext cx="683851" cy="68385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ct val="35000"/>
            </a:spcAft>
            <a:buNone/>
          </a:pPr>
          <a:r>
            <a:rPr lang="ar-EG" sz="1400" b="1" kern="1200" dirty="0"/>
            <a:t>عمال الشركة</a:t>
          </a:r>
          <a:endParaRPr lang="en-US" sz="1400" b="1" kern="1200" dirty="0"/>
        </a:p>
      </dsp:txBody>
      <dsp:txXfrm>
        <a:off x="1235036" y="2568748"/>
        <a:ext cx="617085" cy="61708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2A6EF9-AEA1-456A-90F3-C3DFFFACD121}">
      <dsp:nvSpPr>
        <dsp:cNvPr id="0" name=""/>
        <dsp:cNvSpPr/>
      </dsp:nvSpPr>
      <dsp:spPr>
        <a:xfrm>
          <a:off x="650298" y="0"/>
          <a:ext cx="5871376" cy="3669610"/>
        </a:xfrm>
        <a:prstGeom prst="swooshArrow">
          <a:avLst>
            <a:gd name="adj1" fmla="val 25000"/>
            <a:gd name="adj2" fmla="val 25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1535D1-291B-47FD-9E3C-C7FCE4175E84}">
      <dsp:nvSpPr>
        <dsp:cNvPr id="0" name=""/>
        <dsp:cNvSpPr/>
      </dsp:nvSpPr>
      <dsp:spPr>
        <a:xfrm>
          <a:off x="1228629" y="2728721"/>
          <a:ext cx="135041" cy="135041"/>
        </a:xfrm>
        <a:prstGeom prst="ellips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9DAD1E-76C7-4970-8F63-F6BB4B1434A9}">
      <dsp:nvSpPr>
        <dsp:cNvPr id="0" name=""/>
        <dsp:cNvSpPr/>
      </dsp:nvSpPr>
      <dsp:spPr>
        <a:xfrm>
          <a:off x="1296149" y="2796242"/>
          <a:ext cx="1004005" cy="8733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556" tIns="0" rIns="0" bIns="0" numCol="1" spcCol="1270" anchor="t" anchorCtr="0">
          <a:noAutofit/>
        </a:bodyPr>
        <a:lstStyle/>
        <a:p>
          <a:pPr marL="0" lvl="0" indent="0" algn="l" defTabSz="622300">
            <a:lnSpc>
              <a:spcPct val="90000"/>
            </a:lnSpc>
            <a:spcBef>
              <a:spcPct val="0"/>
            </a:spcBef>
            <a:spcAft>
              <a:spcPct val="35000"/>
            </a:spcAft>
            <a:buNone/>
          </a:pPr>
          <a:r>
            <a:rPr lang="ar-EG" sz="1400" b="1" kern="1200" dirty="0"/>
            <a:t>محدودية الموارد المائية</a:t>
          </a:r>
          <a:endParaRPr lang="en-US" sz="1400" b="1" kern="1200" dirty="0"/>
        </a:p>
      </dsp:txBody>
      <dsp:txXfrm>
        <a:off x="1296149" y="2796242"/>
        <a:ext cx="1004005" cy="873367"/>
      </dsp:txXfrm>
    </dsp:sp>
    <dsp:sp modelId="{46CD01D8-50B8-4BFF-9369-1A5CA3A678EB}">
      <dsp:nvSpPr>
        <dsp:cNvPr id="0" name=""/>
        <dsp:cNvSpPr/>
      </dsp:nvSpPr>
      <dsp:spPr>
        <a:xfrm>
          <a:off x="2182727" y="1875170"/>
          <a:ext cx="234855" cy="234855"/>
        </a:xfrm>
        <a:prstGeom prst="ellips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E9C703-7E23-4034-BBBE-8E31413D8E1F}">
      <dsp:nvSpPr>
        <dsp:cNvPr id="0" name=""/>
        <dsp:cNvSpPr/>
      </dsp:nvSpPr>
      <dsp:spPr>
        <a:xfrm>
          <a:off x="2300155" y="1992598"/>
          <a:ext cx="1232988" cy="1677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445" tIns="0" rIns="0" bIns="0" numCol="1" spcCol="1270" anchor="t" anchorCtr="0">
          <a:noAutofit/>
        </a:bodyPr>
        <a:lstStyle/>
        <a:p>
          <a:pPr marL="0" lvl="0" indent="0" algn="l" defTabSz="622300">
            <a:lnSpc>
              <a:spcPct val="90000"/>
            </a:lnSpc>
            <a:spcBef>
              <a:spcPct val="0"/>
            </a:spcBef>
            <a:spcAft>
              <a:spcPct val="35000"/>
            </a:spcAft>
            <a:buNone/>
          </a:pPr>
          <a:r>
            <a:rPr lang="ar-EG" sz="1400" b="1" kern="1200" dirty="0"/>
            <a:t>إعادة الاستخدام لمياه الصرف </a:t>
          </a:r>
          <a:endParaRPr lang="en-US" sz="1400" b="1" kern="1200" dirty="0"/>
        </a:p>
      </dsp:txBody>
      <dsp:txXfrm>
        <a:off x="2300155" y="1992598"/>
        <a:ext cx="1232988" cy="1677011"/>
      </dsp:txXfrm>
    </dsp:sp>
    <dsp:sp modelId="{9A77F731-F1C4-40DC-BFE9-AF71A21B2B7C}">
      <dsp:nvSpPr>
        <dsp:cNvPr id="0" name=""/>
        <dsp:cNvSpPr/>
      </dsp:nvSpPr>
      <dsp:spPr>
        <a:xfrm>
          <a:off x="3401038" y="1246199"/>
          <a:ext cx="311182" cy="311182"/>
        </a:xfrm>
        <a:prstGeom prst="ellips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BCD7F0-89E6-4110-8B0C-0B687F8CDB1D}">
      <dsp:nvSpPr>
        <dsp:cNvPr id="0" name=""/>
        <dsp:cNvSpPr/>
      </dsp:nvSpPr>
      <dsp:spPr>
        <a:xfrm>
          <a:off x="3556629" y="1401791"/>
          <a:ext cx="1232988" cy="2267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889" tIns="0" rIns="0" bIns="0" numCol="1" spcCol="1270" anchor="t" anchorCtr="0">
          <a:noAutofit/>
        </a:bodyPr>
        <a:lstStyle/>
        <a:p>
          <a:pPr marL="0" lvl="0" indent="0" algn="l" defTabSz="622300">
            <a:lnSpc>
              <a:spcPct val="90000"/>
            </a:lnSpc>
            <a:spcBef>
              <a:spcPct val="0"/>
            </a:spcBef>
            <a:spcAft>
              <a:spcPct val="35000"/>
            </a:spcAft>
            <a:buNone/>
          </a:pPr>
          <a:r>
            <a:rPr lang="ar-EG" sz="1400" b="1" kern="1200" dirty="0"/>
            <a:t>مشروعات حياة كريمة لتغطية الريف المصري بمياه الصرف</a:t>
          </a:r>
          <a:endParaRPr lang="en-US" sz="1400" b="1" kern="1200" dirty="0"/>
        </a:p>
      </dsp:txBody>
      <dsp:txXfrm>
        <a:off x="3556629" y="1401791"/>
        <a:ext cx="1232988" cy="2267818"/>
      </dsp:txXfrm>
    </dsp:sp>
    <dsp:sp modelId="{6CCFA2C8-FBC7-445D-A840-B1850D2F23C9}">
      <dsp:nvSpPr>
        <dsp:cNvPr id="0" name=""/>
        <dsp:cNvSpPr/>
      </dsp:nvSpPr>
      <dsp:spPr>
        <a:xfrm>
          <a:off x="4727969" y="830065"/>
          <a:ext cx="416867" cy="416867"/>
        </a:xfrm>
        <a:prstGeom prst="ellips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D7FDDF-EBF1-4DF9-A7E3-67C36F3720C3}">
      <dsp:nvSpPr>
        <dsp:cNvPr id="0" name=""/>
        <dsp:cNvSpPr/>
      </dsp:nvSpPr>
      <dsp:spPr>
        <a:xfrm>
          <a:off x="4936402" y="1038499"/>
          <a:ext cx="1232988" cy="26311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890" tIns="0" rIns="0" bIns="0" numCol="1" spcCol="1270" anchor="t" anchorCtr="0">
          <a:noAutofit/>
        </a:bodyPr>
        <a:lstStyle/>
        <a:p>
          <a:pPr marL="0" lvl="0" indent="0" algn="l" defTabSz="622300">
            <a:lnSpc>
              <a:spcPct val="90000"/>
            </a:lnSpc>
            <a:spcBef>
              <a:spcPct val="0"/>
            </a:spcBef>
            <a:spcAft>
              <a:spcPct val="35000"/>
            </a:spcAft>
            <a:buNone/>
          </a:pPr>
          <a:r>
            <a:rPr lang="ar-EG" sz="1400" b="1" kern="1200" dirty="0"/>
            <a:t>زيادة الحمأة المنتجة الي 4 مليون طن/العام</a:t>
          </a:r>
          <a:endParaRPr lang="en-US" sz="1400" b="1" kern="1200" dirty="0"/>
        </a:p>
      </dsp:txBody>
      <dsp:txXfrm>
        <a:off x="4936402" y="1038499"/>
        <a:ext cx="1232988" cy="263111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11C229-44BD-48C7-B0F7-9AA07E0C3CD2}">
      <dsp:nvSpPr>
        <dsp:cNvPr id="0" name=""/>
        <dsp:cNvSpPr/>
      </dsp:nvSpPr>
      <dsp:spPr>
        <a:xfrm>
          <a:off x="4329" y="2086911"/>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ar-EG" sz="1600" b="1" kern="1200" dirty="0"/>
            <a:t>بها عوامل ممرضة وروائح كريهة</a:t>
          </a:r>
          <a:endParaRPr lang="en-US" sz="1600" b="1" kern="1200" dirty="0"/>
        </a:p>
      </dsp:txBody>
      <dsp:txXfrm>
        <a:off x="55599" y="2138181"/>
        <a:ext cx="1647950" cy="1825362"/>
      </dsp:txXfrm>
    </dsp:sp>
    <dsp:sp modelId="{A43E7D62-F0EC-4E5D-AF14-35083F27A022}">
      <dsp:nvSpPr>
        <dsp:cNvPr id="0" name=""/>
        <dsp:cNvSpPr/>
      </dsp:nvSpPr>
      <dsp:spPr>
        <a:xfrm>
          <a:off x="4329" y="1813"/>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ar-EG" sz="1600" b="1" kern="1200" dirty="0">
              <a:effectLst/>
              <a:latin typeface="Calibri" panose="020F0502020204030204" pitchFamily="34" charset="0"/>
              <a:ea typeface="Calibri" panose="020F0502020204030204" pitchFamily="34" charset="0"/>
              <a:cs typeface="Calibri" panose="020F0502020204030204" pitchFamily="34" charset="0"/>
            </a:rPr>
            <a:t>لا يمكن استعمال الحمأة المكثفة مباشرة كسماد (تلوث غذائي)</a:t>
          </a:r>
          <a:endParaRPr lang="en-US" sz="1600" b="1" kern="1200" dirty="0"/>
        </a:p>
      </dsp:txBody>
      <dsp:txXfrm>
        <a:off x="55599" y="53083"/>
        <a:ext cx="1647950" cy="1825362"/>
      </dsp:txXfrm>
    </dsp:sp>
    <dsp:sp modelId="{DDBC9279-2F74-4FB3-B836-4518BDB76E65}">
      <dsp:nvSpPr>
        <dsp:cNvPr id="0" name=""/>
        <dsp:cNvSpPr/>
      </dsp:nvSpPr>
      <dsp:spPr>
        <a:xfrm>
          <a:off x="2048902" y="2086911"/>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ar-EG" sz="1400" b="1" kern="1200" dirty="0">
              <a:effectLst/>
              <a:latin typeface="Calibri" panose="020F0502020204030204" pitchFamily="34" charset="0"/>
              <a:ea typeface="Calibri" panose="020F0502020204030204" pitchFamily="34" charset="0"/>
              <a:cs typeface="Calibri" panose="020F0502020204030204" pitchFamily="34" charset="0"/>
            </a:rPr>
            <a:t>تحتوي الحمأة في بعض الأحيان علي عناصر ثقيلة </a:t>
          </a:r>
          <a:endParaRPr lang="en-US" sz="1400" b="1" kern="1200" dirty="0"/>
        </a:p>
      </dsp:txBody>
      <dsp:txXfrm>
        <a:off x="2100172" y="2138181"/>
        <a:ext cx="1647950" cy="1825362"/>
      </dsp:txXfrm>
    </dsp:sp>
    <dsp:sp modelId="{2F1E362F-63F1-4318-B7D0-8D060694BBC3}">
      <dsp:nvSpPr>
        <dsp:cNvPr id="0" name=""/>
        <dsp:cNvSpPr/>
      </dsp:nvSpPr>
      <dsp:spPr>
        <a:xfrm>
          <a:off x="2048902" y="1813"/>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ar-EG" sz="1600" b="1" kern="1200" dirty="0">
              <a:effectLst/>
              <a:latin typeface="Calibri" panose="020F0502020204030204" pitchFamily="34" charset="0"/>
              <a:ea typeface="Calibri" panose="020F0502020204030204" pitchFamily="34" charset="0"/>
              <a:cs typeface="Calibri" panose="020F0502020204030204" pitchFamily="34" charset="0"/>
            </a:rPr>
            <a:t>تراكم الحمأة في المحطات وعدم سحبها يؤدي الي تعطل منظومات المعالجة (التأثير علي الاستثمارات)</a:t>
          </a:r>
          <a:endParaRPr lang="en-US" sz="1600" b="1" kern="1200" dirty="0"/>
        </a:p>
      </dsp:txBody>
      <dsp:txXfrm>
        <a:off x="2100172" y="53083"/>
        <a:ext cx="1647950" cy="1825362"/>
      </dsp:txXfrm>
    </dsp:sp>
    <dsp:sp modelId="{1F48037B-D781-4C50-AA19-D93F829974DE}">
      <dsp:nvSpPr>
        <dsp:cNvPr id="0" name=""/>
        <dsp:cNvSpPr/>
      </dsp:nvSpPr>
      <dsp:spPr>
        <a:xfrm>
          <a:off x="4093475" y="2086911"/>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mbol" panose="05050102010706020507" pitchFamily="18" charset="2"/>
            <a:buNone/>
          </a:pPr>
          <a:r>
            <a:rPr lang="ar-EG"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تؤدي الي تلوث المجاري المائية بمتبقيات البلاستيك الدقيقة )</a:t>
          </a:r>
          <a:r>
            <a:rPr lang="en-US"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Microplastics</a:t>
          </a:r>
          <a:r>
            <a:rPr lang="ar-EG"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rPr>
            <a:t>(</a:t>
          </a:r>
          <a:endParaRPr lang="en-US" sz="1400" b="1" kern="1200" dirty="0">
            <a:solidFill>
              <a:prstClr val="white"/>
            </a:solidFill>
            <a:effectLst/>
            <a:latin typeface="Calibri" panose="020F0502020204030204" pitchFamily="34" charset="0"/>
            <a:ea typeface="Calibri" panose="020F0502020204030204" pitchFamily="34" charset="0"/>
            <a:cs typeface="Calibri" panose="020F0502020204030204" pitchFamily="34" charset="0"/>
          </a:endParaRPr>
        </a:p>
      </dsp:txBody>
      <dsp:txXfrm>
        <a:off x="4144745" y="2138181"/>
        <a:ext cx="1647950" cy="1825362"/>
      </dsp:txXfrm>
    </dsp:sp>
    <dsp:sp modelId="{08036BB4-20F6-489B-B4C5-107BFA719921}">
      <dsp:nvSpPr>
        <dsp:cNvPr id="0" name=""/>
        <dsp:cNvSpPr/>
      </dsp:nvSpPr>
      <dsp:spPr>
        <a:xfrm>
          <a:off x="4093475" y="1813"/>
          <a:ext cx="1750490" cy="1927902"/>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ar-EG" sz="1600" b="1" kern="1200" dirty="0">
              <a:effectLst/>
              <a:latin typeface="Calibri" panose="020F0502020204030204" pitchFamily="34" charset="0"/>
              <a:ea typeface="Calibri" panose="020F0502020204030204" pitchFamily="34" charset="0"/>
              <a:cs typeface="Calibri" panose="020F0502020204030204" pitchFamily="34" charset="0"/>
            </a:rPr>
            <a:t>تقليل فرص إعادة الاستخدام الامن (انبعاث غازات دفيئة) </a:t>
          </a:r>
          <a:endParaRPr lang="en-US" sz="1600" b="1" kern="1200" dirty="0">
            <a:effectLst/>
            <a:latin typeface="Calibri" panose="020F0502020204030204" pitchFamily="34" charset="0"/>
            <a:ea typeface="Calibri" panose="020F0502020204030204" pitchFamily="34" charset="0"/>
            <a:cs typeface="Calibri" panose="020F0502020204030204" pitchFamily="34" charset="0"/>
          </a:endParaRPr>
        </a:p>
      </dsp:txBody>
      <dsp:txXfrm>
        <a:off x="4144745" y="53083"/>
        <a:ext cx="1647950" cy="18253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E325EF-61D0-46DF-A846-0E15E210ED41}">
      <dsp:nvSpPr>
        <dsp:cNvPr id="0" name=""/>
        <dsp:cNvSpPr/>
      </dsp:nvSpPr>
      <dsp:spPr>
        <a:xfrm>
          <a:off x="8826994" y="-485589"/>
          <a:ext cx="3762976" cy="3762976"/>
        </a:xfrm>
        <a:prstGeom prst="blockArc">
          <a:avLst>
            <a:gd name="adj1" fmla="val 8100000"/>
            <a:gd name="adj2" fmla="val 13500000"/>
            <a:gd name="adj3" fmla="val 574"/>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ED9D87D-8A87-4CE6-A74B-F8ED680ACF88}">
      <dsp:nvSpPr>
        <dsp:cNvPr id="0" name=""/>
        <dsp:cNvSpPr/>
      </dsp:nvSpPr>
      <dsp:spPr>
        <a:xfrm>
          <a:off x="35093" y="279179"/>
          <a:ext cx="9008953" cy="55835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443198" bIns="53340" numCol="1" spcCol="1270" anchor="ctr" anchorCtr="0">
          <a:noAutofit/>
        </a:bodyPr>
        <a:lstStyle/>
        <a:p>
          <a:pPr marL="0" lvl="0" indent="0" algn="r" defTabSz="933450">
            <a:lnSpc>
              <a:spcPct val="90000"/>
            </a:lnSpc>
            <a:spcBef>
              <a:spcPct val="0"/>
            </a:spcBef>
            <a:spcAft>
              <a:spcPct val="35000"/>
            </a:spcAft>
            <a:buFont typeface="Calibri" panose="020F0502020204030204" pitchFamily="34" charset="0"/>
            <a:buNone/>
          </a:pPr>
          <a:r>
            <a:rPr lang="ar-SA" sz="2100" kern="1200" dirty="0"/>
            <a:t>موقع محطة </a:t>
          </a:r>
          <a:r>
            <a:rPr lang="ar-SA" sz="2100" kern="1200" dirty="0" err="1"/>
            <a:t>العصلوجي</a:t>
          </a:r>
          <a:r>
            <a:rPr lang="ar-SA" sz="2100" kern="1200" dirty="0"/>
            <a:t> لاستقبال الحمأة من محطات قري ومدن الزقازيق</a:t>
          </a:r>
          <a:r>
            <a:rPr lang="ar-EG" sz="2100" kern="1200" dirty="0"/>
            <a:t> بمساحة تقدر ب 5 فدادين</a:t>
          </a:r>
          <a:endParaRPr lang="en-US" sz="2100" kern="1200" dirty="0"/>
        </a:p>
      </dsp:txBody>
      <dsp:txXfrm>
        <a:off x="35093" y="279179"/>
        <a:ext cx="9008953" cy="558359"/>
      </dsp:txXfrm>
    </dsp:sp>
    <dsp:sp modelId="{1F0C85A0-F714-47C3-8ED4-E2D9CEFDF323}">
      <dsp:nvSpPr>
        <dsp:cNvPr id="0" name=""/>
        <dsp:cNvSpPr/>
      </dsp:nvSpPr>
      <dsp:spPr>
        <a:xfrm>
          <a:off x="8695072" y="209384"/>
          <a:ext cx="697949" cy="697949"/>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861A92-ED32-4262-818D-72DD10263CA1}">
      <dsp:nvSpPr>
        <dsp:cNvPr id="0" name=""/>
        <dsp:cNvSpPr/>
      </dsp:nvSpPr>
      <dsp:spPr>
        <a:xfrm>
          <a:off x="35093" y="1116719"/>
          <a:ext cx="8805989" cy="55835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443198" bIns="53340" numCol="1" spcCol="1270" anchor="ctr" anchorCtr="0">
          <a:noAutofit/>
        </a:bodyPr>
        <a:lstStyle/>
        <a:p>
          <a:pPr marL="0" lvl="0" indent="0" algn="r" defTabSz="933450">
            <a:lnSpc>
              <a:spcPct val="90000"/>
            </a:lnSpc>
            <a:spcBef>
              <a:spcPct val="0"/>
            </a:spcBef>
            <a:spcAft>
              <a:spcPct val="35000"/>
            </a:spcAft>
            <a:buFont typeface="Calibri" panose="020F0502020204030204" pitchFamily="34" charset="0"/>
            <a:buNone/>
          </a:pPr>
          <a:r>
            <a:rPr lang="ar-SA" sz="2100" kern="1200" dirty="0"/>
            <a:t>موقع محطة </a:t>
          </a:r>
          <a:r>
            <a:rPr lang="ar-SA" sz="2100" kern="1200" dirty="0" err="1"/>
            <a:t>السعدات</a:t>
          </a:r>
          <a:r>
            <a:rPr lang="ar-SA" sz="2100" kern="1200" dirty="0"/>
            <a:t> لاستقبال الحمأة من محطات </a:t>
          </a:r>
          <a:r>
            <a:rPr lang="ar-EG" sz="2100" kern="1200" dirty="0"/>
            <a:t>بلبيس وتوابعها </a:t>
          </a:r>
          <a:r>
            <a:rPr lang="ar-SA" sz="2100" kern="1200" dirty="0"/>
            <a:t>– مساحة</a:t>
          </a:r>
          <a:r>
            <a:rPr lang="ar-EG" sz="2100" kern="1200" dirty="0"/>
            <a:t> 1</a:t>
          </a:r>
          <a:r>
            <a:rPr lang="ar-SA" sz="2100" kern="1200" dirty="0"/>
            <a:t> فدان</a:t>
          </a:r>
          <a:endParaRPr lang="en-US" sz="2100" kern="1200" dirty="0"/>
        </a:p>
      </dsp:txBody>
      <dsp:txXfrm>
        <a:off x="35093" y="1116719"/>
        <a:ext cx="8805989" cy="558359"/>
      </dsp:txXfrm>
    </dsp:sp>
    <dsp:sp modelId="{099AD577-EA92-4CE1-A541-D97694740E9E}">
      <dsp:nvSpPr>
        <dsp:cNvPr id="0" name=""/>
        <dsp:cNvSpPr/>
      </dsp:nvSpPr>
      <dsp:spPr>
        <a:xfrm>
          <a:off x="8492108" y="1046924"/>
          <a:ext cx="697949" cy="697949"/>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5EDC94A-94B5-4F37-9D2F-962CD81A40FF}">
      <dsp:nvSpPr>
        <dsp:cNvPr id="0" name=""/>
        <dsp:cNvSpPr/>
      </dsp:nvSpPr>
      <dsp:spPr>
        <a:xfrm>
          <a:off x="35093" y="1954258"/>
          <a:ext cx="9008953" cy="558359"/>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443198" bIns="53340" numCol="1" spcCol="1270" anchor="ctr" anchorCtr="0">
          <a:noAutofit/>
        </a:bodyPr>
        <a:lstStyle/>
        <a:p>
          <a:pPr marL="0" lvl="0" indent="0" algn="r" defTabSz="933450">
            <a:lnSpc>
              <a:spcPct val="90000"/>
            </a:lnSpc>
            <a:spcBef>
              <a:spcPct val="0"/>
            </a:spcBef>
            <a:spcAft>
              <a:spcPct val="35000"/>
            </a:spcAft>
            <a:buFont typeface="Calibri" panose="020F0502020204030204" pitchFamily="34" charset="0"/>
            <a:buNone/>
          </a:pPr>
          <a:r>
            <a:rPr lang="ar-SA" sz="2100" kern="1200" dirty="0"/>
            <a:t>موقع خزان حانوت لاستقبال الحمأة من محطات كفر صقر والحسينية – مساحة </a:t>
          </a:r>
          <a:r>
            <a:rPr lang="ar-EG" sz="2100" kern="1200" dirty="0"/>
            <a:t>1 </a:t>
          </a:r>
          <a:r>
            <a:rPr lang="ar-SA" sz="2100" kern="1200" dirty="0"/>
            <a:t>فدان.</a:t>
          </a:r>
          <a:endParaRPr lang="en-US" sz="2100" kern="1200" dirty="0"/>
        </a:p>
      </dsp:txBody>
      <dsp:txXfrm>
        <a:off x="35093" y="1954258"/>
        <a:ext cx="9008953" cy="558359"/>
      </dsp:txXfrm>
    </dsp:sp>
    <dsp:sp modelId="{94F36AEE-260B-4842-AAB6-3F618B421793}">
      <dsp:nvSpPr>
        <dsp:cNvPr id="0" name=""/>
        <dsp:cNvSpPr/>
      </dsp:nvSpPr>
      <dsp:spPr>
        <a:xfrm>
          <a:off x="8695072" y="1884463"/>
          <a:ext cx="697949" cy="697949"/>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4F7D66-4180-4B9C-A3F7-EAC87A2FF312}">
      <dsp:nvSpPr>
        <dsp:cNvPr id="0" name=""/>
        <dsp:cNvSpPr/>
      </dsp:nvSpPr>
      <dsp:spPr>
        <a:xfrm>
          <a:off x="4621565" y="882986"/>
          <a:ext cx="2339474" cy="2339441"/>
        </a:xfrm>
        <a:prstGeom prst="ellipse">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6BB2C248-5939-48F8-AC8C-453D1A772F27}">
      <dsp:nvSpPr>
        <dsp:cNvPr id="0" name=""/>
        <dsp:cNvSpPr/>
      </dsp:nvSpPr>
      <dsp:spPr>
        <a:xfrm>
          <a:off x="4699513" y="960981"/>
          <a:ext cx="2183059" cy="2183451"/>
        </a:xfrm>
        <a:prstGeom prst="ellipse">
          <a:avLst/>
        </a:prstGeom>
        <a:solidFill>
          <a:schemeClr val="lt1">
            <a:alpha val="90000"/>
            <a:hueOff val="0"/>
            <a:satOff val="0"/>
            <a:lumOff val="0"/>
            <a:alphaOff val="0"/>
          </a:schemeClr>
        </a:solidFill>
        <a:ln>
          <a:noFill/>
        </a:ln>
        <a:effectLst/>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ar-EG" sz="3100" kern="1200" dirty="0"/>
            <a:t>5000 فرصة عمل غير مباشرة</a:t>
          </a:r>
          <a:endParaRPr lang="en-US" sz="3100" kern="1200" dirty="0"/>
        </a:p>
      </dsp:txBody>
      <dsp:txXfrm>
        <a:off x="5011824" y="1272961"/>
        <a:ext cx="1559476" cy="1559490"/>
      </dsp:txXfrm>
    </dsp:sp>
    <dsp:sp modelId="{E4D76E7D-3C79-4D79-8ED9-EF4FDB5B6282}">
      <dsp:nvSpPr>
        <dsp:cNvPr id="0" name=""/>
        <dsp:cNvSpPr/>
      </dsp:nvSpPr>
      <dsp:spPr>
        <a:xfrm rot="2700000">
          <a:off x="2204363" y="882725"/>
          <a:ext cx="2339552" cy="2339552"/>
        </a:xfrm>
        <a:prstGeom prst="teardrop">
          <a:avLst>
            <a:gd name="adj" fmla="val 100000"/>
          </a:avLst>
        </a:prstGeom>
        <a:solidFill>
          <a:schemeClr val="accent1">
            <a:hueOff val="0"/>
            <a:satOff val="0"/>
            <a:lumOff val="0"/>
            <a:alphaOff val="0"/>
          </a:schemeClr>
        </a:solidFill>
        <a:ln>
          <a:noFill/>
        </a:ln>
        <a:effectLst/>
        <a:sp3d extrusionH="190500" prstMaterial="matte">
          <a:bevelT w="120650" h="38100" prst="relaxedInset"/>
          <a:bevelB w="120650" h="571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75A4D7CD-0DB7-48F2-8508-8EDEA0705A7B}">
      <dsp:nvSpPr>
        <dsp:cNvPr id="0" name=""/>
        <dsp:cNvSpPr/>
      </dsp:nvSpPr>
      <dsp:spPr>
        <a:xfrm>
          <a:off x="2282610" y="960981"/>
          <a:ext cx="2183059" cy="2183451"/>
        </a:xfrm>
        <a:prstGeom prst="ellipse">
          <a:avLst/>
        </a:prstGeom>
        <a:solidFill>
          <a:schemeClr val="lt1">
            <a:alpha val="90000"/>
            <a:hueOff val="0"/>
            <a:satOff val="0"/>
            <a:lumOff val="0"/>
            <a:alphaOff val="0"/>
          </a:schemeClr>
        </a:solidFill>
        <a:ln>
          <a:noFill/>
        </a:ln>
        <a:effectLst/>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r>
            <a:rPr lang="ar-EG" sz="3100" kern="1200" dirty="0"/>
            <a:t>500 فرصة عمل مباشرة</a:t>
          </a:r>
          <a:endParaRPr lang="en-US" sz="3100" kern="1200" dirty="0"/>
        </a:p>
      </dsp:txBody>
      <dsp:txXfrm>
        <a:off x="2594401" y="1272961"/>
        <a:ext cx="1559476" cy="15594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82DE6C-1B0E-4F38-B584-0FD50CB6ABCE}">
      <dsp:nvSpPr>
        <dsp:cNvPr id="0" name=""/>
        <dsp:cNvSpPr/>
      </dsp:nvSpPr>
      <dsp:spPr>
        <a:xfrm>
          <a:off x="2577916" y="2194240"/>
          <a:ext cx="2681849" cy="2681849"/>
        </a:xfrm>
        <a:prstGeom prst="gear9">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Font typeface="Symbol" panose="05050102010706020507" pitchFamily="18" charset="2"/>
            <a:buNone/>
          </a:pPr>
          <a:r>
            <a:rPr lang="ar-EG" sz="1200" b="1" kern="1200" dirty="0">
              <a:effectLst/>
              <a:latin typeface="Calibri" panose="020F0502020204030204" pitchFamily="34" charset="0"/>
              <a:ea typeface="Calibri" panose="020F0502020204030204" pitchFamily="34" charset="0"/>
              <a:cs typeface="Calibri" panose="020F0502020204030204" pitchFamily="34" charset="0"/>
            </a:rPr>
            <a:t>اتساع الرقعة الزراعية وخدمة الزراعة من خلال توفير سماد طبيعي بأسعار منخفضة</a:t>
          </a:r>
          <a:endParaRPr lang="en-US" sz="1200" b="1" kern="1200" dirty="0"/>
        </a:p>
      </dsp:txBody>
      <dsp:txXfrm>
        <a:off x="3117087" y="2822450"/>
        <a:ext cx="1603507" cy="1378526"/>
      </dsp:txXfrm>
    </dsp:sp>
    <dsp:sp modelId="{FF9AE293-BDC0-4C90-AA6E-D69C83658672}">
      <dsp:nvSpPr>
        <dsp:cNvPr id="0" name=""/>
        <dsp:cNvSpPr/>
      </dsp:nvSpPr>
      <dsp:spPr>
        <a:xfrm>
          <a:off x="1017567" y="1560348"/>
          <a:ext cx="1950436" cy="1950436"/>
        </a:xfrm>
        <a:prstGeom prst="gear6">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Font typeface="Symbol" panose="05050102010706020507" pitchFamily="18" charset="2"/>
            <a:buNone/>
          </a:pPr>
          <a:r>
            <a:rPr lang="ar-EG" sz="1100" b="1" kern="1200" dirty="0">
              <a:effectLst/>
              <a:latin typeface="Calibri" panose="020F0502020204030204" pitchFamily="34" charset="0"/>
              <a:ea typeface="Calibri" panose="020F0502020204030204" pitchFamily="34" charset="0"/>
              <a:cs typeface="Calibri" panose="020F0502020204030204" pitchFamily="34" charset="0"/>
            </a:rPr>
            <a:t>تحويل المخلفات الصلبة من عمليات المعالجة الي سماد عضوي</a:t>
          </a:r>
          <a:endParaRPr lang="en-US" sz="1100" b="1" kern="1200" dirty="0"/>
        </a:p>
      </dsp:txBody>
      <dsp:txXfrm>
        <a:off x="1508595" y="2054344"/>
        <a:ext cx="968380" cy="962444"/>
      </dsp:txXfrm>
    </dsp:sp>
    <dsp:sp modelId="{0AAE9EC8-CE22-48A7-ADBC-4CF166A95BC4}">
      <dsp:nvSpPr>
        <dsp:cNvPr id="0" name=""/>
        <dsp:cNvSpPr/>
      </dsp:nvSpPr>
      <dsp:spPr>
        <a:xfrm rot="20700000">
          <a:off x="2110010" y="214747"/>
          <a:ext cx="1911029" cy="1911029"/>
        </a:xfrm>
        <a:prstGeom prst="gear6">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Font typeface="Symbol" panose="05050102010706020507" pitchFamily="18" charset="2"/>
            <a:buNone/>
          </a:pPr>
          <a:r>
            <a:rPr lang="ar-EG" sz="1100" b="1" kern="1200" dirty="0">
              <a:effectLst/>
              <a:latin typeface="Calibri" panose="020F0502020204030204" pitchFamily="34" charset="0"/>
              <a:ea typeface="Calibri" panose="020F0502020204030204" pitchFamily="34" charset="0"/>
              <a:cs typeface="Calibri" panose="020F0502020204030204" pitchFamily="34" charset="0"/>
            </a:rPr>
            <a:t>خفض انبعاث الغازات الدفيئة الناتجة عن عمليات التخمر اللاهوائي للحمأة 50%</a:t>
          </a:r>
          <a:endParaRPr lang="en-US" sz="1100" b="1" kern="1200" dirty="0"/>
        </a:p>
      </dsp:txBody>
      <dsp:txXfrm rot="-20700000">
        <a:off x="2529155" y="633891"/>
        <a:ext cx="1072739" cy="1072739"/>
      </dsp:txXfrm>
    </dsp:sp>
    <dsp:sp modelId="{E034D4B5-D801-4F82-AFE4-52BBF52F8BA0}">
      <dsp:nvSpPr>
        <dsp:cNvPr id="0" name=""/>
        <dsp:cNvSpPr/>
      </dsp:nvSpPr>
      <dsp:spPr>
        <a:xfrm>
          <a:off x="2379255" y="1785243"/>
          <a:ext cx="3432767" cy="3432767"/>
        </a:xfrm>
        <a:prstGeom prst="circularArrow">
          <a:avLst>
            <a:gd name="adj1" fmla="val 4687"/>
            <a:gd name="adj2" fmla="val 299029"/>
            <a:gd name="adj3" fmla="val 2530348"/>
            <a:gd name="adj4" fmla="val 15831057"/>
            <a:gd name="adj5" fmla="val 546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B54FCD-D54F-488F-AA34-91A169B80412}">
      <dsp:nvSpPr>
        <dsp:cNvPr id="0" name=""/>
        <dsp:cNvSpPr/>
      </dsp:nvSpPr>
      <dsp:spPr>
        <a:xfrm>
          <a:off x="672149" y="1125865"/>
          <a:ext cx="2494120" cy="2494120"/>
        </a:xfrm>
        <a:prstGeom prst="leftCircularArrow">
          <a:avLst>
            <a:gd name="adj1" fmla="val 6452"/>
            <a:gd name="adj2" fmla="val 429999"/>
            <a:gd name="adj3" fmla="val 10489124"/>
            <a:gd name="adj4" fmla="val 14837806"/>
            <a:gd name="adj5" fmla="val 7527"/>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CF7E405-3DE2-4F48-B5F3-74B79BC650ED}">
      <dsp:nvSpPr>
        <dsp:cNvPr id="0" name=""/>
        <dsp:cNvSpPr/>
      </dsp:nvSpPr>
      <dsp:spPr>
        <a:xfrm>
          <a:off x="1667970" y="-206766"/>
          <a:ext cx="2689163" cy="2689163"/>
        </a:xfrm>
        <a:prstGeom prst="circularArrow">
          <a:avLst>
            <a:gd name="adj1" fmla="val 5984"/>
            <a:gd name="adj2" fmla="val 394124"/>
            <a:gd name="adj3" fmla="val 13313824"/>
            <a:gd name="adj4" fmla="val 10508221"/>
            <a:gd name="adj5" fmla="val 6981"/>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5A298E-F5F1-4A30-BF38-3E167CF55152}">
      <dsp:nvSpPr>
        <dsp:cNvPr id="0" name=""/>
        <dsp:cNvSpPr/>
      </dsp:nvSpPr>
      <dsp:spPr>
        <a:xfrm>
          <a:off x="0" y="0"/>
          <a:ext cx="9167377" cy="2915993"/>
        </a:xfrm>
        <a:prstGeom prst="roundRect">
          <a:avLst>
            <a:gd name="adj" fmla="val 8500"/>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1800221" numCol="1" spcCol="1270" anchor="t" anchorCtr="0">
          <a:noAutofit/>
        </a:bodyPr>
        <a:lstStyle/>
        <a:p>
          <a:pPr marL="0" lvl="0" indent="0" algn="ctr" defTabSz="800100">
            <a:lnSpc>
              <a:spcPct val="90000"/>
            </a:lnSpc>
            <a:spcBef>
              <a:spcPct val="0"/>
            </a:spcBef>
            <a:spcAft>
              <a:spcPct val="35000"/>
            </a:spcAft>
            <a:buNone/>
          </a:pPr>
          <a:r>
            <a:rPr lang="ar-EG" sz="1800" b="1" kern="1200" dirty="0"/>
            <a:t>يقترح تنفيذ تطبيق الكتروني من خلال موقع الشركة لبيع وتداول الحمأة يتم من خلاله العرض والطلب للحمأة عن طريق ادخال البيانات بواسطة المواقع الثلاثة وكميات الحمأة المتاحة للشراء وكذلك السعر المقترح ومن خلال التطبيق يمكن للمشتريين الاطلاع وعرض أسعار الشراء </a:t>
          </a:r>
          <a:endParaRPr lang="en-US" sz="1800" b="1" kern="1200" dirty="0"/>
        </a:p>
      </dsp:txBody>
      <dsp:txXfrm>
        <a:off x="72596" y="72596"/>
        <a:ext cx="9022185" cy="2770801"/>
      </dsp:txXfrm>
    </dsp:sp>
    <dsp:sp modelId="{5A4EA0FF-72F0-4799-8B7A-1289C66380D0}">
      <dsp:nvSpPr>
        <dsp:cNvPr id="0" name=""/>
        <dsp:cNvSpPr/>
      </dsp:nvSpPr>
      <dsp:spPr>
        <a:xfrm>
          <a:off x="229184" y="1312196"/>
          <a:ext cx="2151737" cy="1312196"/>
        </a:xfrm>
        <a:prstGeom prst="roundRect">
          <a:avLst>
            <a:gd name="adj" fmla="val 105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mbol" panose="05050102010706020507" pitchFamily="18" charset="2"/>
            <a:buNone/>
          </a:pPr>
          <a:r>
            <a:rPr lang="ar-EG" sz="1400" b="1" kern="1200" dirty="0"/>
            <a:t>منصة للتداول (البيع والشراء) وبالتالي تحقيق اعلي عائد من خلال التنافس بين المشتريين</a:t>
          </a:r>
          <a:endParaRPr lang="en-US" sz="1400" b="1" kern="1200" dirty="0"/>
        </a:p>
      </dsp:txBody>
      <dsp:txXfrm>
        <a:off x="269539" y="1352551"/>
        <a:ext cx="2071027" cy="1231486"/>
      </dsp:txXfrm>
    </dsp:sp>
    <dsp:sp modelId="{B5B0DAF0-7731-4D40-8357-41544BEDB691}">
      <dsp:nvSpPr>
        <dsp:cNvPr id="0" name=""/>
        <dsp:cNvSpPr/>
      </dsp:nvSpPr>
      <dsp:spPr>
        <a:xfrm>
          <a:off x="2414896" y="1312196"/>
          <a:ext cx="2151737" cy="1312196"/>
        </a:xfrm>
        <a:prstGeom prst="roundRect">
          <a:avLst>
            <a:gd name="adj" fmla="val 105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ar-SA" sz="1400" b="1" kern="1200" dirty="0"/>
            <a:t>ا</a:t>
          </a:r>
          <a:r>
            <a:rPr lang="ar-EG" sz="1400" b="1" kern="1200" dirty="0"/>
            <a:t>لإعلان عن المنتج بصورة مختلفة وإمكانية ارفاق التحاليل ونصائح الاستخدام</a:t>
          </a:r>
          <a:endParaRPr lang="en-US" sz="1400" b="1" kern="1200" dirty="0"/>
        </a:p>
      </dsp:txBody>
      <dsp:txXfrm>
        <a:off x="2455251" y="1352551"/>
        <a:ext cx="2071027" cy="1231486"/>
      </dsp:txXfrm>
    </dsp:sp>
    <dsp:sp modelId="{6DCF5EE7-6DAB-4B04-8654-C71D8FFAA9CA}">
      <dsp:nvSpPr>
        <dsp:cNvPr id="0" name=""/>
        <dsp:cNvSpPr/>
      </dsp:nvSpPr>
      <dsp:spPr>
        <a:xfrm>
          <a:off x="4600608" y="1312196"/>
          <a:ext cx="2151737" cy="1312196"/>
        </a:xfrm>
        <a:prstGeom prst="roundRect">
          <a:avLst>
            <a:gd name="adj" fmla="val 105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mbol" panose="05050102010706020507" pitchFamily="18" charset="2"/>
            <a:buNone/>
          </a:pPr>
          <a:r>
            <a:rPr lang="ar-EG" sz="1400" b="1" kern="1200"/>
            <a:t>إمكانية إضافة أسلوب لتقييم عمليات البيع وجودة المنتج </a:t>
          </a:r>
          <a:endParaRPr lang="en-US" sz="1400" b="1" kern="1200" dirty="0"/>
        </a:p>
      </dsp:txBody>
      <dsp:txXfrm>
        <a:off x="4640963" y="1352551"/>
        <a:ext cx="2071027" cy="1231486"/>
      </dsp:txXfrm>
    </dsp:sp>
    <dsp:sp modelId="{479AF2EB-31D0-4398-A43C-55135CA228ED}">
      <dsp:nvSpPr>
        <dsp:cNvPr id="0" name=""/>
        <dsp:cNvSpPr/>
      </dsp:nvSpPr>
      <dsp:spPr>
        <a:xfrm>
          <a:off x="6786320" y="1312196"/>
          <a:ext cx="2151737" cy="1312196"/>
        </a:xfrm>
        <a:prstGeom prst="roundRect">
          <a:avLst>
            <a:gd name="adj" fmla="val 105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mbol" panose="05050102010706020507" pitchFamily="18" charset="2"/>
            <a:buNone/>
          </a:pPr>
          <a:r>
            <a:rPr lang="ar-EG" sz="1400" b="1" kern="1200"/>
            <a:t>إمكانية التحكم في الكميات المباعة وبالتالي استدامة المشروع</a:t>
          </a:r>
          <a:endParaRPr lang="en-US" sz="1400" b="1" kern="1200" dirty="0"/>
        </a:p>
      </dsp:txBody>
      <dsp:txXfrm>
        <a:off x="6826675" y="1352551"/>
        <a:ext cx="2071027" cy="1231486"/>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3A1871-2FBE-4676-A365-F10BB7876B7A}" type="datetimeFigureOut">
              <a:rPr lang="en-US" smtClean="0"/>
              <a:t>10/20/2022</a:t>
            </a:fld>
            <a:endParaRPr lang="en-US"/>
          </a:p>
        </p:txBody>
      </p:sp>
      <p:sp>
        <p:nvSpPr>
          <p:cNvPr id="4" name="Slide Image Placeholder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BD691E-B1F9-4DE7-8F99-8F77D46FD686}" type="slidenum">
              <a:rPr lang="en-US" smtClean="0"/>
              <a:t>‹#›</a:t>
            </a:fld>
            <a:endParaRPr lang="en-US"/>
          </a:p>
        </p:txBody>
      </p:sp>
    </p:spTree>
    <p:extLst>
      <p:ext uri="{BB962C8B-B14F-4D97-AF65-F5344CB8AC3E}">
        <p14:creationId xmlns:p14="http://schemas.microsoft.com/office/powerpoint/2010/main" val="977674267"/>
      </p:ext>
    </p:extLst>
  </p:cSld>
  <p:clrMap bg1="lt1" tx1="dk1" bg2="lt2" tx2="dk2" accent1="accent1" accent2="accent2" accent3="accent3" accent4="accent4" accent5="accent5" accent6="accent6" hlink="hlink" folHlink="folHlink"/>
  <p:notesStyle>
    <a:lvl1pPr marL="0" algn="l" defTabSz="1238921" rtl="0" eaLnBrk="1" latinLnBrk="0" hangingPunct="1">
      <a:defRPr sz="1626" kern="1200">
        <a:solidFill>
          <a:schemeClr val="tx1"/>
        </a:solidFill>
        <a:latin typeface="+mn-lt"/>
        <a:ea typeface="+mn-ea"/>
        <a:cs typeface="+mn-cs"/>
      </a:defRPr>
    </a:lvl1pPr>
    <a:lvl2pPr marL="619460" algn="l" defTabSz="1238921" rtl="0" eaLnBrk="1" latinLnBrk="0" hangingPunct="1">
      <a:defRPr sz="1626" kern="1200">
        <a:solidFill>
          <a:schemeClr val="tx1"/>
        </a:solidFill>
        <a:latin typeface="+mn-lt"/>
        <a:ea typeface="+mn-ea"/>
        <a:cs typeface="+mn-cs"/>
      </a:defRPr>
    </a:lvl2pPr>
    <a:lvl3pPr marL="1238921" algn="l" defTabSz="1238921" rtl="0" eaLnBrk="1" latinLnBrk="0" hangingPunct="1">
      <a:defRPr sz="1626" kern="1200">
        <a:solidFill>
          <a:schemeClr val="tx1"/>
        </a:solidFill>
        <a:latin typeface="+mn-lt"/>
        <a:ea typeface="+mn-ea"/>
        <a:cs typeface="+mn-cs"/>
      </a:defRPr>
    </a:lvl3pPr>
    <a:lvl4pPr marL="1858381" algn="l" defTabSz="1238921" rtl="0" eaLnBrk="1" latinLnBrk="0" hangingPunct="1">
      <a:defRPr sz="1626" kern="1200">
        <a:solidFill>
          <a:schemeClr val="tx1"/>
        </a:solidFill>
        <a:latin typeface="+mn-lt"/>
        <a:ea typeface="+mn-ea"/>
        <a:cs typeface="+mn-cs"/>
      </a:defRPr>
    </a:lvl4pPr>
    <a:lvl5pPr marL="2477841" algn="l" defTabSz="1238921" rtl="0" eaLnBrk="1" latinLnBrk="0" hangingPunct="1">
      <a:defRPr sz="1626" kern="1200">
        <a:solidFill>
          <a:schemeClr val="tx1"/>
        </a:solidFill>
        <a:latin typeface="+mn-lt"/>
        <a:ea typeface="+mn-ea"/>
        <a:cs typeface="+mn-cs"/>
      </a:defRPr>
    </a:lvl5pPr>
    <a:lvl6pPr marL="3097301" algn="l" defTabSz="1238921" rtl="0" eaLnBrk="1" latinLnBrk="0" hangingPunct="1">
      <a:defRPr sz="1626" kern="1200">
        <a:solidFill>
          <a:schemeClr val="tx1"/>
        </a:solidFill>
        <a:latin typeface="+mn-lt"/>
        <a:ea typeface="+mn-ea"/>
        <a:cs typeface="+mn-cs"/>
      </a:defRPr>
    </a:lvl6pPr>
    <a:lvl7pPr marL="3716762" algn="l" defTabSz="1238921" rtl="0" eaLnBrk="1" latinLnBrk="0" hangingPunct="1">
      <a:defRPr sz="1626" kern="1200">
        <a:solidFill>
          <a:schemeClr val="tx1"/>
        </a:solidFill>
        <a:latin typeface="+mn-lt"/>
        <a:ea typeface="+mn-ea"/>
        <a:cs typeface="+mn-cs"/>
      </a:defRPr>
    </a:lvl7pPr>
    <a:lvl8pPr marL="4336222" algn="l" defTabSz="1238921" rtl="0" eaLnBrk="1" latinLnBrk="0" hangingPunct="1">
      <a:defRPr sz="1626" kern="1200">
        <a:solidFill>
          <a:schemeClr val="tx1"/>
        </a:solidFill>
        <a:latin typeface="+mn-lt"/>
        <a:ea typeface="+mn-ea"/>
        <a:cs typeface="+mn-cs"/>
      </a:defRPr>
    </a:lvl8pPr>
    <a:lvl9pPr marL="4955682" algn="l" defTabSz="1238921" rtl="0" eaLnBrk="1" latinLnBrk="0" hangingPunct="1">
      <a:defRPr sz="162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33951" y="1749795"/>
            <a:ext cx="12851448" cy="3722335"/>
          </a:xfrm>
        </p:spPr>
        <p:txBody>
          <a:bodyPr anchor="b"/>
          <a:lstStyle>
            <a:lvl1pPr algn="ctr">
              <a:defRPr sz="9354"/>
            </a:lvl1pPr>
          </a:lstStyle>
          <a:p>
            <a:r>
              <a:rPr lang="en-US"/>
              <a:t>Click to edit Master title style</a:t>
            </a:r>
            <a:endParaRPr lang="en-US" dirty="0"/>
          </a:p>
        </p:txBody>
      </p:sp>
      <p:sp>
        <p:nvSpPr>
          <p:cNvPr id="3" name="Subtitle 2"/>
          <p:cNvSpPr>
            <a:spLocks noGrp="1"/>
          </p:cNvSpPr>
          <p:nvPr>
            <p:ph type="subTitle" idx="1"/>
          </p:nvPr>
        </p:nvSpPr>
        <p:spPr>
          <a:xfrm>
            <a:off x="1889919" y="5615678"/>
            <a:ext cx="11339513" cy="2581379"/>
          </a:xfrm>
        </p:spPr>
        <p:txBody>
          <a:bodyPr/>
          <a:lstStyle>
            <a:lvl1pPr marL="0" indent="0" algn="ctr">
              <a:buNone/>
              <a:defRPr sz="3742"/>
            </a:lvl1pPr>
            <a:lvl2pPr marL="712775" indent="0" algn="ctr">
              <a:buNone/>
              <a:defRPr sz="3118"/>
            </a:lvl2pPr>
            <a:lvl3pPr marL="1425550" indent="0" algn="ctr">
              <a:buNone/>
              <a:defRPr sz="2806"/>
            </a:lvl3pPr>
            <a:lvl4pPr marL="2138324" indent="0" algn="ctr">
              <a:buNone/>
              <a:defRPr sz="2494"/>
            </a:lvl4pPr>
            <a:lvl5pPr marL="2851099" indent="0" algn="ctr">
              <a:buNone/>
              <a:defRPr sz="2494"/>
            </a:lvl5pPr>
            <a:lvl6pPr marL="3563874" indent="0" algn="ctr">
              <a:buNone/>
              <a:defRPr sz="2494"/>
            </a:lvl6pPr>
            <a:lvl7pPr marL="4276649" indent="0" algn="ctr">
              <a:buNone/>
              <a:defRPr sz="2494"/>
            </a:lvl7pPr>
            <a:lvl8pPr marL="4989424" indent="0" algn="ctr">
              <a:buNone/>
              <a:defRPr sz="2494"/>
            </a:lvl8pPr>
            <a:lvl9pPr marL="5702198" indent="0" algn="ctr">
              <a:buNone/>
              <a:defRPr sz="2494"/>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682D066-E1D5-435E-AAB1-000871C3FCD3}" type="datetimeFigureOut">
              <a:rPr lang="ar-EG" smtClean="0"/>
              <a:t>25/03/1444</a:t>
            </a:fld>
            <a:endParaRPr lang="ar-EG"/>
          </a:p>
        </p:txBody>
      </p:sp>
      <p:sp>
        <p:nvSpPr>
          <p:cNvPr id="5" name="Footer Placeholder 4"/>
          <p:cNvSpPr>
            <a:spLocks noGrp="1"/>
          </p:cNvSpPr>
          <p:nvPr>
            <p:ph type="ftr" sz="quarter" idx="11"/>
          </p:nvPr>
        </p:nvSpPr>
        <p:spPr/>
        <p:txBody>
          <a:bodyPr/>
          <a:lstStyle/>
          <a:p>
            <a:endParaRPr lang="ar-EG"/>
          </a:p>
        </p:txBody>
      </p:sp>
      <p:sp>
        <p:nvSpPr>
          <p:cNvPr id="6" name="Slide Number Placeholder 5"/>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23211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82D066-E1D5-435E-AAB1-000871C3FCD3}" type="datetimeFigureOut">
              <a:rPr lang="ar-EG" smtClean="0"/>
              <a:t>25/03/1444</a:t>
            </a:fld>
            <a:endParaRPr lang="ar-EG"/>
          </a:p>
        </p:txBody>
      </p:sp>
      <p:sp>
        <p:nvSpPr>
          <p:cNvPr id="5" name="Footer Placeholder 4"/>
          <p:cNvSpPr>
            <a:spLocks noGrp="1"/>
          </p:cNvSpPr>
          <p:nvPr>
            <p:ph type="ftr" sz="quarter" idx="11"/>
          </p:nvPr>
        </p:nvSpPr>
        <p:spPr/>
        <p:txBody>
          <a:bodyPr/>
          <a:lstStyle/>
          <a:p>
            <a:endParaRPr lang="ar-EG"/>
          </a:p>
        </p:txBody>
      </p:sp>
      <p:sp>
        <p:nvSpPr>
          <p:cNvPr id="6" name="Slide Number Placeholder 5"/>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1678308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19786" y="569240"/>
            <a:ext cx="3260110" cy="90608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039456" y="569240"/>
            <a:ext cx="9591338" cy="90608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82D066-E1D5-435E-AAB1-000871C3FCD3}" type="datetimeFigureOut">
              <a:rPr lang="ar-EG" smtClean="0"/>
              <a:t>25/03/1444</a:t>
            </a:fld>
            <a:endParaRPr lang="ar-EG"/>
          </a:p>
        </p:txBody>
      </p:sp>
      <p:sp>
        <p:nvSpPr>
          <p:cNvPr id="5" name="Footer Placeholder 4"/>
          <p:cNvSpPr>
            <a:spLocks noGrp="1"/>
          </p:cNvSpPr>
          <p:nvPr>
            <p:ph type="ftr" sz="quarter" idx="11"/>
          </p:nvPr>
        </p:nvSpPr>
        <p:spPr/>
        <p:txBody>
          <a:bodyPr/>
          <a:lstStyle/>
          <a:p>
            <a:endParaRPr lang="ar-EG"/>
          </a:p>
        </p:txBody>
      </p:sp>
      <p:sp>
        <p:nvSpPr>
          <p:cNvPr id="6" name="Slide Number Placeholder 5"/>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1429867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682D066-E1D5-435E-AAB1-000871C3FCD3}" type="datetimeFigureOut">
              <a:rPr lang="ar-EG" smtClean="0"/>
              <a:t>25/03/1444</a:t>
            </a:fld>
            <a:endParaRPr lang="ar-EG"/>
          </a:p>
        </p:txBody>
      </p:sp>
      <p:sp>
        <p:nvSpPr>
          <p:cNvPr id="5" name="Footer Placeholder 4"/>
          <p:cNvSpPr>
            <a:spLocks noGrp="1"/>
          </p:cNvSpPr>
          <p:nvPr>
            <p:ph type="ftr" sz="quarter" idx="11"/>
          </p:nvPr>
        </p:nvSpPr>
        <p:spPr/>
        <p:txBody>
          <a:bodyPr/>
          <a:lstStyle/>
          <a:p>
            <a:endParaRPr lang="ar-EG"/>
          </a:p>
        </p:txBody>
      </p:sp>
      <p:sp>
        <p:nvSpPr>
          <p:cNvPr id="6" name="Slide Number Placeholder 5"/>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3118986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31582" y="2665532"/>
            <a:ext cx="13040439" cy="4447496"/>
          </a:xfrm>
        </p:spPr>
        <p:txBody>
          <a:bodyPr anchor="b"/>
          <a:lstStyle>
            <a:lvl1pPr>
              <a:defRPr sz="9354"/>
            </a:lvl1pPr>
          </a:lstStyle>
          <a:p>
            <a:r>
              <a:rPr lang="en-US"/>
              <a:t>Click to edit Master title style</a:t>
            </a:r>
            <a:endParaRPr lang="en-US" dirty="0"/>
          </a:p>
        </p:txBody>
      </p:sp>
      <p:sp>
        <p:nvSpPr>
          <p:cNvPr id="3" name="Text Placeholder 2"/>
          <p:cNvSpPr>
            <a:spLocks noGrp="1"/>
          </p:cNvSpPr>
          <p:nvPr>
            <p:ph type="body" idx="1"/>
          </p:nvPr>
        </p:nvSpPr>
        <p:spPr>
          <a:xfrm>
            <a:off x="1031582" y="7155103"/>
            <a:ext cx="13040439" cy="2338833"/>
          </a:xfrm>
        </p:spPr>
        <p:txBody>
          <a:bodyPr/>
          <a:lstStyle>
            <a:lvl1pPr marL="0" indent="0">
              <a:buNone/>
              <a:defRPr sz="3742">
                <a:solidFill>
                  <a:schemeClr val="tx1"/>
                </a:solidFill>
              </a:defRPr>
            </a:lvl1pPr>
            <a:lvl2pPr marL="712775" indent="0">
              <a:buNone/>
              <a:defRPr sz="3118">
                <a:solidFill>
                  <a:schemeClr val="tx1">
                    <a:tint val="75000"/>
                  </a:schemeClr>
                </a:solidFill>
              </a:defRPr>
            </a:lvl2pPr>
            <a:lvl3pPr marL="1425550" indent="0">
              <a:buNone/>
              <a:defRPr sz="2806">
                <a:solidFill>
                  <a:schemeClr val="tx1">
                    <a:tint val="75000"/>
                  </a:schemeClr>
                </a:solidFill>
              </a:defRPr>
            </a:lvl3pPr>
            <a:lvl4pPr marL="2138324" indent="0">
              <a:buNone/>
              <a:defRPr sz="2494">
                <a:solidFill>
                  <a:schemeClr val="tx1">
                    <a:tint val="75000"/>
                  </a:schemeClr>
                </a:solidFill>
              </a:defRPr>
            </a:lvl4pPr>
            <a:lvl5pPr marL="2851099" indent="0">
              <a:buNone/>
              <a:defRPr sz="2494">
                <a:solidFill>
                  <a:schemeClr val="tx1">
                    <a:tint val="75000"/>
                  </a:schemeClr>
                </a:solidFill>
              </a:defRPr>
            </a:lvl5pPr>
            <a:lvl6pPr marL="3563874" indent="0">
              <a:buNone/>
              <a:defRPr sz="2494">
                <a:solidFill>
                  <a:schemeClr val="tx1">
                    <a:tint val="75000"/>
                  </a:schemeClr>
                </a:solidFill>
              </a:defRPr>
            </a:lvl6pPr>
            <a:lvl7pPr marL="4276649" indent="0">
              <a:buNone/>
              <a:defRPr sz="2494">
                <a:solidFill>
                  <a:schemeClr val="tx1">
                    <a:tint val="75000"/>
                  </a:schemeClr>
                </a:solidFill>
              </a:defRPr>
            </a:lvl7pPr>
            <a:lvl8pPr marL="4989424" indent="0">
              <a:buNone/>
              <a:defRPr sz="2494">
                <a:solidFill>
                  <a:schemeClr val="tx1">
                    <a:tint val="75000"/>
                  </a:schemeClr>
                </a:solidFill>
              </a:defRPr>
            </a:lvl8pPr>
            <a:lvl9pPr marL="5702198" indent="0">
              <a:buNone/>
              <a:defRPr sz="249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682D066-E1D5-435E-AAB1-000871C3FCD3}" type="datetimeFigureOut">
              <a:rPr lang="ar-EG" smtClean="0"/>
              <a:t>25/03/1444</a:t>
            </a:fld>
            <a:endParaRPr lang="ar-EG"/>
          </a:p>
        </p:txBody>
      </p:sp>
      <p:sp>
        <p:nvSpPr>
          <p:cNvPr id="5" name="Footer Placeholder 4"/>
          <p:cNvSpPr>
            <a:spLocks noGrp="1"/>
          </p:cNvSpPr>
          <p:nvPr>
            <p:ph type="ftr" sz="quarter" idx="11"/>
          </p:nvPr>
        </p:nvSpPr>
        <p:spPr/>
        <p:txBody>
          <a:bodyPr/>
          <a:lstStyle/>
          <a:p>
            <a:endParaRPr lang="ar-EG"/>
          </a:p>
        </p:txBody>
      </p:sp>
      <p:sp>
        <p:nvSpPr>
          <p:cNvPr id="6" name="Slide Number Placeholder 5"/>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3794973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39455" y="2846200"/>
            <a:ext cx="6425724" cy="67838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654171" y="2846200"/>
            <a:ext cx="6425724" cy="67838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682D066-E1D5-435E-AAB1-000871C3FCD3}" type="datetimeFigureOut">
              <a:rPr lang="ar-EG" smtClean="0"/>
              <a:t>25/03/1444</a:t>
            </a:fld>
            <a:endParaRPr lang="ar-EG"/>
          </a:p>
        </p:txBody>
      </p:sp>
      <p:sp>
        <p:nvSpPr>
          <p:cNvPr id="6" name="Footer Placeholder 5"/>
          <p:cNvSpPr>
            <a:spLocks noGrp="1"/>
          </p:cNvSpPr>
          <p:nvPr>
            <p:ph type="ftr" sz="quarter" idx="11"/>
          </p:nvPr>
        </p:nvSpPr>
        <p:spPr/>
        <p:txBody>
          <a:bodyPr/>
          <a:lstStyle/>
          <a:p>
            <a:endParaRPr lang="ar-EG"/>
          </a:p>
        </p:txBody>
      </p:sp>
      <p:sp>
        <p:nvSpPr>
          <p:cNvPr id="7" name="Slide Number Placeholder 6"/>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3653325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41425" y="569242"/>
            <a:ext cx="13040439" cy="2066590"/>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41426" y="2620980"/>
            <a:ext cx="6396193" cy="1284502"/>
          </a:xfrm>
        </p:spPr>
        <p:txBody>
          <a:bodyPr anchor="b"/>
          <a:lstStyle>
            <a:lvl1pPr marL="0" indent="0">
              <a:buNone/>
              <a:defRPr sz="3742" b="1"/>
            </a:lvl1pPr>
            <a:lvl2pPr marL="712775" indent="0">
              <a:buNone/>
              <a:defRPr sz="3118" b="1"/>
            </a:lvl2pPr>
            <a:lvl3pPr marL="1425550" indent="0">
              <a:buNone/>
              <a:defRPr sz="2806" b="1"/>
            </a:lvl3pPr>
            <a:lvl4pPr marL="2138324" indent="0">
              <a:buNone/>
              <a:defRPr sz="2494" b="1"/>
            </a:lvl4pPr>
            <a:lvl5pPr marL="2851099" indent="0">
              <a:buNone/>
              <a:defRPr sz="2494" b="1"/>
            </a:lvl5pPr>
            <a:lvl6pPr marL="3563874" indent="0">
              <a:buNone/>
              <a:defRPr sz="2494" b="1"/>
            </a:lvl6pPr>
            <a:lvl7pPr marL="4276649" indent="0">
              <a:buNone/>
              <a:defRPr sz="2494" b="1"/>
            </a:lvl7pPr>
            <a:lvl8pPr marL="4989424" indent="0">
              <a:buNone/>
              <a:defRPr sz="2494" b="1"/>
            </a:lvl8pPr>
            <a:lvl9pPr marL="5702198" indent="0">
              <a:buNone/>
              <a:defRPr sz="2494" b="1"/>
            </a:lvl9pPr>
          </a:lstStyle>
          <a:p>
            <a:pPr lvl="0"/>
            <a:r>
              <a:rPr lang="en-US"/>
              <a:t>Click to edit Master text styles</a:t>
            </a:r>
          </a:p>
        </p:txBody>
      </p:sp>
      <p:sp>
        <p:nvSpPr>
          <p:cNvPr id="4" name="Content Placeholder 3"/>
          <p:cNvSpPr>
            <a:spLocks noGrp="1"/>
          </p:cNvSpPr>
          <p:nvPr>
            <p:ph sz="half" idx="2"/>
          </p:nvPr>
        </p:nvSpPr>
        <p:spPr>
          <a:xfrm>
            <a:off x="1041426" y="3905482"/>
            <a:ext cx="6396193" cy="574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654172" y="2620980"/>
            <a:ext cx="6427693" cy="1284502"/>
          </a:xfrm>
        </p:spPr>
        <p:txBody>
          <a:bodyPr anchor="b"/>
          <a:lstStyle>
            <a:lvl1pPr marL="0" indent="0">
              <a:buNone/>
              <a:defRPr sz="3742" b="1"/>
            </a:lvl1pPr>
            <a:lvl2pPr marL="712775" indent="0">
              <a:buNone/>
              <a:defRPr sz="3118" b="1"/>
            </a:lvl2pPr>
            <a:lvl3pPr marL="1425550" indent="0">
              <a:buNone/>
              <a:defRPr sz="2806" b="1"/>
            </a:lvl3pPr>
            <a:lvl4pPr marL="2138324" indent="0">
              <a:buNone/>
              <a:defRPr sz="2494" b="1"/>
            </a:lvl4pPr>
            <a:lvl5pPr marL="2851099" indent="0">
              <a:buNone/>
              <a:defRPr sz="2494" b="1"/>
            </a:lvl5pPr>
            <a:lvl6pPr marL="3563874" indent="0">
              <a:buNone/>
              <a:defRPr sz="2494" b="1"/>
            </a:lvl6pPr>
            <a:lvl7pPr marL="4276649" indent="0">
              <a:buNone/>
              <a:defRPr sz="2494" b="1"/>
            </a:lvl7pPr>
            <a:lvl8pPr marL="4989424" indent="0">
              <a:buNone/>
              <a:defRPr sz="2494" b="1"/>
            </a:lvl8pPr>
            <a:lvl9pPr marL="5702198" indent="0">
              <a:buNone/>
              <a:defRPr sz="2494" b="1"/>
            </a:lvl9pPr>
          </a:lstStyle>
          <a:p>
            <a:pPr lvl="0"/>
            <a:r>
              <a:rPr lang="en-US"/>
              <a:t>Click to edit Master text styles</a:t>
            </a:r>
          </a:p>
        </p:txBody>
      </p:sp>
      <p:sp>
        <p:nvSpPr>
          <p:cNvPr id="6" name="Content Placeholder 5"/>
          <p:cNvSpPr>
            <a:spLocks noGrp="1"/>
          </p:cNvSpPr>
          <p:nvPr>
            <p:ph sz="quarter" idx="4"/>
          </p:nvPr>
        </p:nvSpPr>
        <p:spPr>
          <a:xfrm>
            <a:off x="7654172" y="3905482"/>
            <a:ext cx="6427693" cy="5744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682D066-E1D5-435E-AAB1-000871C3FCD3}" type="datetimeFigureOut">
              <a:rPr lang="ar-EG" smtClean="0"/>
              <a:t>25/03/1444</a:t>
            </a:fld>
            <a:endParaRPr lang="ar-EG"/>
          </a:p>
        </p:txBody>
      </p:sp>
      <p:sp>
        <p:nvSpPr>
          <p:cNvPr id="8" name="Footer Placeholder 7"/>
          <p:cNvSpPr>
            <a:spLocks noGrp="1"/>
          </p:cNvSpPr>
          <p:nvPr>
            <p:ph type="ftr" sz="quarter" idx="11"/>
          </p:nvPr>
        </p:nvSpPr>
        <p:spPr/>
        <p:txBody>
          <a:bodyPr/>
          <a:lstStyle/>
          <a:p>
            <a:endParaRPr lang="ar-EG"/>
          </a:p>
        </p:txBody>
      </p:sp>
      <p:sp>
        <p:nvSpPr>
          <p:cNvPr id="9" name="Slide Number Placeholder 8"/>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870460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682D066-E1D5-435E-AAB1-000871C3FCD3}" type="datetimeFigureOut">
              <a:rPr lang="ar-EG" smtClean="0"/>
              <a:t>25/03/1444</a:t>
            </a:fld>
            <a:endParaRPr lang="ar-EG"/>
          </a:p>
        </p:txBody>
      </p:sp>
      <p:sp>
        <p:nvSpPr>
          <p:cNvPr id="4" name="Footer Placeholder 3"/>
          <p:cNvSpPr>
            <a:spLocks noGrp="1"/>
          </p:cNvSpPr>
          <p:nvPr>
            <p:ph type="ftr" sz="quarter" idx="11"/>
          </p:nvPr>
        </p:nvSpPr>
        <p:spPr/>
        <p:txBody>
          <a:bodyPr/>
          <a:lstStyle/>
          <a:p>
            <a:endParaRPr lang="ar-EG"/>
          </a:p>
        </p:txBody>
      </p:sp>
      <p:sp>
        <p:nvSpPr>
          <p:cNvPr id="5" name="Slide Number Placeholder 4"/>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968899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82D066-E1D5-435E-AAB1-000871C3FCD3}" type="datetimeFigureOut">
              <a:rPr lang="ar-EG" smtClean="0"/>
              <a:t>25/03/1444</a:t>
            </a:fld>
            <a:endParaRPr lang="ar-EG"/>
          </a:p>
        </p:txBody>
      </p:sp>
      <p:sp>
        <p:nvSpPr>
          <p:cNvPr id="3" name="Footer Placeholder 2"/>
          <p:cNvSpPr>
            <a:spLocks noGrp="1"/>
          </p:cNvSpPr>
          <p:nvPr>
            <p:ph type="ftr" sz="quarter" idx="11"/>
          </p:nvPr>
        </p:nvSpPr>
        <p:spPr/>
        <p:txBody>
          <a:bodyPr/>
          <a:lstStyle/>
          <a:p>
            <a:endParaRPr lang="ar-EG"/>
          </a:p>
        </p:txBody>
      </p:sp>
      <p:sp>
        <p:nvSpPr>
          <p:cNvPr id="4" name="Slide Number Placeholder 3"/>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36582457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41425" y="712788"/>
            <a:ext cx="4876384" cy="2494756"/>
          </a:xfrm>
        </p:spPr>
        <p:txBody>
          <a:bodyPr anchor="b"/>
          <a:lstStyle>
            <a:lvl1pPr>
              <a:defRPr sz="4989"/>
            </a:lvl1pPr>
          </a:lstStyle>
          <a:p>
            <a:r>
              <a:rPr lang="en-US"/>
              <a:t>Click to edit Master title style</a:t>
            </a:r>
            <a:endParaRPr lang="en-US" dirty="0"/>
          </a:p>
        </p:txBody>
      </p:sp>
      <p:sp>
        <p:nvSpPr>
          <p:cNvPr id="3" name="Content Placeholder 2"/>
          <p:cNvSpPr>
            <a:spLocks noGrp="1"/>
          </p:cNvSpPr>
          <p:nvPr>
            <p:ph idx="1"/>
          </p:nvPr>
        </p:nvSpPr>
        <p:spPr>
          <a:xfrm>
            <a:off x="6427693" y="1539425"/>
            <a:ext cx="7654171" cy="7598117"/>
          </a:xfrm>
        </p:spPr>
        <p:txBody>
          <a:bodyPr/>
          <a:lstStyle>
            <a:lvl1pPr>
              <a:defRPr sz="4989"/>
            </a:lvl1pPr>
            <a:lvl2pPr>
              <a:defRPr sz="4365"/>
            </a:lvl2pPr>
            <a:lvl3pPr>
              <a:defRPr sz="3742"/>
            </a:lvl3pPr>
            <a:lvl4pPr>
              <a:defRPr sz="3118"/>
            </a:lvl4pPr>
            <a:lvl5pPr>
              <a:defRPr sz="3118"/>
            </a:lvl5pPr>
            <a:lvl6pPr>
              <a:defRPr sz="3118"/>
            </a:lvl6pPr>
            <a:lvl7pPr>
              <a:defRPr sz="3118"/>
            </a:lvl7pPr>
            <a:lvl8pPr>
              <a:defRPr sz="3118"/>
            </a:lvl8pPr>
            <a:lvl9pPr>
              <a:defRPr sz="311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41425" y="3207544"/>
            <a:ext cx="4876384" cy="5942372"/>
          </a:xfrm>
        </p:spPr>
        <p:txBody>
          <a:bodyPr/>
          <a:lstStyle>
            <a:lvl1pPr marL="0" indent="0">
              <a:buNone/>
              <a:defRPr sz="2494"/>
            </a:lvl1pPr>
            <a:lvl2pPr marL="712775" indent="0">
              <a:buNone/>
              <a:defRPr sz="2183"/>
            </a:lvl2pPr>
            <a:lvl3pPr marL="1425550" indent="0">
              <a:buNone/>
              <a:defRPr sz="1871"/>
            </a:lvl3pPr>
            <a:lvl4pPr marL="2138324" indent="0">
              <a:buNone/>
              <a:defRPr sz="1559"/>
            </a:lvl4pPr>
            <a:lvl5pPr marL="2851099" indent="0">
              <a:buNone/>
              <a:defRPr sz="1559"/>
            </a:lvl5pPr>
            <a:lvl6pPr marL="3563874" indent="0">
              <a:buNone/>
              <a:defRPr sz="1559"/>
            </a:lvl6pPr>
            <a:lvl7pPr marL="4276649" indent="0">
              <a:buNone/>
              <a:defRPr sz="1559"/>
            </a:lvl7pPr>
            <a:lvl8pPr marL="4989424" indent="0">
              <a:buNone/>
              <a:defRPr sz="1559"/>
            </a:lvl8pPr>
            <a:lvl9pPr marL="5702198" indent="0">
              <a:buNone/>
              <a:defRPr sz="1559"/>
            </a:lvl9pPr>
          </a:lstStyle>
          <a:p>
            <a:pPr lvl="0"/>
            <a:r>
              <a:rPr lang="en-US"/>
              <a:t>Click to edit Master text styles</a:t>
            </a:r>
          </a:p>
        </p:txBody>
      </p:sp>
      <p:sp>
        <p:nvSpPr>
          <p:cNvPr id="5" name="Date Placeholder 4"/>
          <p:cNvSpPr>
            <a:spLocks noGrp="1"/>
          </p:cNvSpPr>
          <p:nvPr>
            <p:ph type="dt" sz="half" idx="10"/>
          </p:nvPr>
        </p:nvSpPr>
        <p:spPr/>
        <p:txBody>
          <a:bodyPr/>
          <a:lstStyle/>
          <a:p>
            <a:fld id="{8682D066-E1D5-435E-AAB1-000871C3FCD3}" type="datetimeFigureOut">
              <a:rPr lang="ar-EG" smtClean="0"/>
              <a:t>25/03/1444</a:t>
            </a:fld>
            <a:endParaRPr lang="ar-EG"/>
          </a:p>
        </p:txBody>
      </p:sp>
      <p:sp>
        <p:nvSpPr>
          <p:cNvPr id="6" name="Footer Placeholder 5"/>
          <p:cNvSpPr>
            <a:spLocks noGrp="1"/>
          </p:cNvSpPr>
          <p:nvPr>
            <p:ph type="ftr" sz="quarter" idx="11"/>
          </p:nvPr>
        </p:nvSpPr>
        <p:spPr/>
        <p:txBody>
          <a:bodyPr/>
          <a:lstStyle/>
          <a:p>
            <a:endParaRPr lang="ar-EG"/>
          </a:p>
        </p:txBody>
      </p:sp>
      <p:sp>
        <p:nvSpPr>
          <p:cNvPr id="7" name="Slide Number Placeholder 6"/>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538482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41425" y="712788"/>
            <a:ext cx="4876384" cy="2494756"/>
          </a:xfrm>
        </p:spPr>
        <p:txBody>
          <a:bodyPr anchor="b"/>
          <a:lstStyle>
            <a:lvl1pPr>
              <a:defRPr sz="4989"/>
            </a:lvl1pPr>
          </a:lstStyle>
          <a:p>
            <a:r>
              <a:rPr lang="en-US"/>
              <a:t>Click to edit Master title style</a:t>
            </a:r>
            <a:endParaRPr lang="en-US" dirty="0"/>
          </a:p>
        </p:txBody>
      </p:sp>
      <p:sp>
        <p:nvSpPr>
          <p:cNvPr id="3" name="Picture Placeholder 2"/>
          <p:cNvSpPr>
            <a:spLocks noGrp="1" noChangeAspect="1"/>
          </p:cNvSpPr>
          <p:nvPr>
            <p:ph type="pic" idx="1"/>
          </p:nvPr>
        </p:nvSpPr>
        <p:spPr>
          <a:xfrm>
            <a:off x="6427693" y="1539425"/>
            <a:ext cx="7654171" cy="7598117"/>
          </a:xfrm>
        </p:spPr>
        <p:txBody>
          <a:bodyPr anchor="t"/>
          <a:lstStyle>
            <a:lvl1pPr marL="0" indent="0">
              <a:buNone/>
              <a:defRPr sz="4989"/>
            </a:lvl1pPr>
            <a:lvl2pPr marL="712775" indent="0">
              <a:buNone/>
              <a:defRPr sz="4365"/>
            </a:lvl2pPr>
            <a:lvl3pPr marL="1425550" indent="0">
              <a:buNone/>
              <a:defRPr sz="3742"/>
            </a:lvl3pPr>
            <a:lvl4pPr marL="2138324" indent="0">
              <a:buNone/>
              <a:defRPr sz="3118"/>
            </a:lvl4pPr>
            <a:lvl5pPr marL="2851099" indent="0">
              <a:buNone/>
              <a:defRPr sz="3118"/>
            </a:lvl5pPr>
            <a:lvl6pPr marL="3563874" indent="0">
              <a:buNone/>
              <a:defRPr sz="3118"/>
            </a:lvl6pPr>
            <a:lvl7pPr marL="4276649" indent="0">
              <a:buNone/>
              <a:defRPr sz="3118"/>
            </a:lvl7pPr>
            <a:lvl8pPr marL="4989424" indent="0">
              <a:buNone/>
              <a:defRPr sz="3118"/>
            </a:lvl8pPr>
            <a:lvl9pPr marL="5702198" indent="0">
              <a:buNone/>
              <a:defRPr sz="3118"/>
            </a:lvl9pPr>
          </a:lstStyle>
          <a:p>
            <a:r>
              <a:rPr lang="en-US"/>
              <a:t>Click icon to add picture</a:t>
            </a:r>
            <a:endParaRPr lang="en-US" dirty="0"/>
          </a:p>
        </p:txBody>
      </p:sp>
      <p:sp>
        <p:nvSpPr>
          <p:cNvPr id="4" name="Text Placeholder 3"/>
          <p:cNvSpPr>
            <a:spLocks noGrp="1"/>
          </p:cNvSpPr>
          <p:nvPr>
            <p:ph type="body" sz="half" idx="2"/>
          </p:nvPr>
        </p:nvSpPr>
        <p:spPr>
          <a:xfrm>
            <a:off x="1041425" y="3207544"/>
            <a:ext cx="4876384" cy="5942372"/>
          </a:xfrm>
        </p:spPr>
        <p:txBody>
          <a:bodyPr/>
          <a:lstStyle>
            <a:lvl1pPr marL="0" indent="0">
              <a:buNone/>
              <a:defRPr sz="2494"/>
            </a:lvl1pPr>
            <a:lvl2pPr marL="712775" indent="0">
              <a:buNone/>
              <a:defRPr sz="2183"/>
            </a:lvl2pPr>
            <a:lvl3pPr marL="1425550" indent="0">
              <a:buNone/>
              <a:defRPr sz="1871"/>
            </a:lvl3pPr>
            <a:lvl4pPr marL="2138324" indent="0">
              <a:buNone/>
              <a:defRPr sz="1559"/>
            </a:lvl4pPr>
            <a:lvl5pPr marL="2851099" indent="0">
              <a:buNone/>
              <a:defRPr sz="1559"/>
            </a:lvl5pPr>
            <a:lvl6pPr marL="3563874" indent="0">
              <a:buNone/>
              <a:defRPr sz="1559"/>
            </a:lvl6pPr>
            <a:lvl7pPr marL="4276649" indent="0">
              <a:buNone/>
              <a:defRPr sz="1559"/>
            </a:lvl7pPr>
            <a:lvl8pPr marL="4989424" indent="0">
              <a:buNone/>
              <a:defRPr sz="1559"/>
            </a:lvl8pPr>
            <a:lvl9pPr marL="5702198" indent="0">
              <a:buNone/>
              <a:defRPr sz="1559"/>
            </a:lvl9pPr>
          </a:lstStyle>
          <a:p>
            <a:pPr lvl="0"/>
            <a:r>
              <a:rPr lang="en-US"/>
              <a:t>Click to edit Master text styles</a:t>
            </a:r>
          </a:p>
        </p:txBody>
      </p:sp>
      <p:sp>
        <p:nvSpPr>
          <p:cNvPr id="5" name="Date Placeholder 4"/>
          <p:cNvSpPr>
            <a:spLocks noGrp="1"/>
          </p:cNvSpPr>
          <p:nvPr>
            <p:ph type="dt" sz="half" idx="10"/>
          </p:nvPr>
        </p:nvSpPr>
        <p:spPr/>
        <p:txBody>
          <a:bodyPr/>
          <a:lstStyle/>
          <a:p>
            <a:fld id="{8682D066-E1D5-435E-AAB1-000871C3FCD3}" type="datetimeFigureOut">
              <a:rPr lang="ar-EG" smtClean="0"/>
              <a:t>25/03/1444</a:t>
            </a:fld>
            <a:endParaRPr lang="ar-EG"/>
          </a:p>
        </p:txBody>
      </p:sp>
      <p:sp>
        <p:nvSpPr>
          <p:cNvPr id="6" name="Footer Placeholder 5"/>
          <p:cNvSpPr>
            <a:spLocks noGrp="1"/>
          </p:cNvSpPr>
          <p:nvPr>
            <p:ph type="ftr" sz="quarter" idx="11"/>
          </p:nvPr>
        </p:nvSpPr>
        <p:spPr/>
        <p:txBody>
          <a:bodyPr/>
          <a:lstStyle/>
          <a:p>
            <a:endParaRPr lang="ar-EG"/>
          </a:p>
        </p:txBody>
      </p:sp>
      <p:sp>
        <p:nvSpPr>
          <p:cNvPr id="7" name="Slide Number Placeholder 6"/>
          <p:cNvSpPr>
            <a:spLocks noGrp="1"/>
          </p:cNvSpPr>
          <p:nvPr>
            <p:ph type="sldNum" sz="quarter" idx="12"/>
          </p:nvPr>
        </p:nvSpPr>
        <p:spPr/>
        <p:txBody>
          <a:bodyPr/>
          <a:lstStyle/>
          <a:p>
            <a:fld id="{FFE8E38B-3A5B-40C5-9933-6260CA32EC75}" type="slidenum">
              <a:rPr lang="ar-EG" smtClean="0"/>
              <a:t>‹#›</a:t>
            </a:fld>
            <a:endParaRPr lang="ar-EG"/>
          </a:p>
        </p:txBody>
      </p:sp>
    </p:spTree>
    <p:extLst>
      <p:ext uri="{BB962C8B-B14F-4D97-AF65-F5344CB8AC3E}">
        <p14:creationId xmlns:p14="http://schemas.microsoft.com/office/powerpoint/2010/main" val="3682906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39456" y="569242"/>
            <a:ext cx="13040439" cy="206659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39456" y="2846200"/>
            <a:ext cx="13040439" cy="6783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9455" y="9909729"/>
            <a:ext cx="3401854" cy="569240"/>
          </a:xfrm>
          <a:prstGeom prst="rect">
            <a:avLst/>
          </a:prstGeom>
        </p:spPr>
        <p:txBody>
          <a:bodyPr vert="horz" lIns="91440" tIns="45720" rIns="91440" bIns="45720" rtlCol="0" anchor="ctr"/>
          <a:lstStyle>
            <a:lvl1pPr algn="l">
              <a:defRPr sz="1871">
                <a:solidFill>
                  <a:schemeClr val="tx1">
                    <a:tint val="75000"/>
                  </a:schemeClr>
                </a:solidFill>
              </a:defRPr>
            </a:lvl1pPr>
          </a:lstStyle>
          <a:p>
            <a:fld id="{8682D066-E1D5-435E-AAB1-000871C3FCD3}" type="datetimeFigureOut">
              <a:rPr lang="ar-EG" smtClean="0"/>
              <a:t>25/03/1444</a:t>
            </a:fld>
            <a:endParaRPr lang="ar-EG"/>
          </a:p>
        </p:txBody>
      </p:sp>
      <p:sp>
        <p:nvSpPr>
          <p:cNvPr id="5" name="Footer Placeholder 4"/>
          <p:cNvSpPr>
            <a:spLocks noGrp="1"/>
          </p:cNvSpPr>
          <p:nvPr>
            <p:ph type="ftr" sz="quarter" idx="3"/>
          </p:nvPr>
        </p:nvSpPr>
        <p:spPr>
          <a:xfrm>
            <a:off x="5008285" y="9909729"/>
            <a:ext cx="5102781" cy="569240"/>
          </a:xfrm>
          <a:prstGeom prst="rect">
            <a:avLst/>
          </a:prstGeom>
        </p:spPr>
        <p:txBody>
          <a:bodyPr vert="horz" lIns="91440" tIns="45720" rIns="91440" bIns="45720" rtlCol="0" anchor="ctr"/>
          <a:lstStyle>
            <a:lvl1pPr algn="ctr">
              <a:defRPr sz="1871">
                <a:solidFill>
                  <a:schemeClr val="tx1">
                    <a:tint val="75000"/>
                  </a:schemeClr>
                </a:solidFill>
              </a:defRPr>
            </a:lvl1pPr>
          </a:lstStyle>
          <a:p>
            <a:endParaRPr lang="ar-EG"/>
          </a:p>
        </p:txBody>
      </p:sp>
      <p:sp>
        <p:nvSpPr>
          <p:cNvPr id="6" name="Slide Number Placeholder 5"/>
          <p:cNvSpPr>
            <a:spLocks noGrp="1"/>
          </p:cNvSpPr>
          <p:nvPr>
            <p:ph type="sldNum" sz="quarter" idx="4"/>
          </p:nvPr>
        </p:nvSpPr>
        <p:spPr>
          <a:xfrm>
            <a:off x="10678041" y="9909729"/>
            <a:ext cx="3401854" cy="569240"/>
          </a:xfrm>
          <a:prstGeom prst="rect">
            <a:avLst/>
          </a:prstGeom>
        </p:spPr>
        <p:txBody>
          <a:bodyPr vert="horz" lIns="91440" tIns="45720" rIns="91440" bIns="45720" rtlCol="0" anchor="ctr"/>
          <a:lstStyle>
            <a:lvl1pPr algn="r">
              <a:defRPr sz="1871">
                <a:solidFill>
                  <a:schemeClr val="tx1">
                    <a:tint val="75000"/>
                  </a:schemeClr>
                </a:solidFill>
              </a:defRPr>
            </a:lvl1pPr>
          </a:lstStyle>
          <a:p>
            <a:fld id="{FFE8E38B-3A5B-40C5-9933-6260CA32EC75}" type="slidenum">
              <a:rPr lang="ar-EG" smtClean="0"/>
              <a:t>‹#›</a:t>
            </a:fld>
            <a:endParaRPr lang="ar-EG"/>
          </a:p>
        </p:txBody>
      </p:sp>
    </p:spTree>
    <p:extLst>
      <p:ext uri="{BB962C8B-B14F-4D97-AF65-F5344CB8AC3E}">
        <p14:creationId xmlns:p14="http://schemas.microsoft.com/office/powerpoint/2010/main" val="34937207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425550" rtl="1" eaLnBrk="1" latinLnBrk="0" hangingPunct="1">
        <a:lnSpc>
          <a:spcPct val="90000"/>
        </a:lnSpc>
        <a:spcBef>
          <a:spcPct val="0"/>
        </a:spcBef>
        <a:buNone/>
        <a:defRPr sz="6860" kern="1200">
          <a:solidFill>
            <a:schemeClr val="tx1"/>
          </a:solidFill>
          <a:latin typeface="+mj-lt"/>
          <a:ea typeface="+mj-ea"/>
          <a:cs typeface="+mj-cs"/>
        </a:defRPr>
      </a:lvl1pPr>
    </p:titleStyle>
    <p:bodyStyle>
      <a:lvl1pPr marL="356387" indent="-356387" algn="r" defTabSz="1425550" rtl="1" eaLnBrk="1" latinLnBrk="0" hangingPunct="1">
        <a:lnSpc>
          <a:spcPct val="90000"/>
        </a:lnSpc>
        <a:spcBef>
          <a:spcPts val="1559"/>
        </a:spcBef>
        <a:buFont typeface="Arial" panose="020B0604020202020204" pitchFamily="34" charset="0"/>
        <a:buChar char="•"/>
        <a:defRPr sz="4365" kern="1200">
          <a:solidFill>
            <a:schemeClr val="tx1"/>
          </a:solidFill>
          <a:latin typeface="+mn-lt"/>
          <a:ea typeface="+mn-ea"/>
          <a:cs typeface="+mn-cs"/>
        </a:defRPr>
      </a:lvl1pPr>
      <a:lvl2pPr marL="1069162" indent="-356387" algn="r" defTabSz="1425550" rtl="1" eaLnBrk="1" latinLnBrk="0" hangingPunct="1">
        <a:lnSpc>
          <a:spcPct val="90000"/>
        </a:lnSpc>
        <a:spcBef>
          <a:spcPts val="780"/>
        </a:spcBef>
        <a:buFont typeface="Arial" panose="020B0604020202020204" pitchFamily="34" charset="0"/>
        <a:buChar char="•"/>
        <a:defRPr sz="3742" kern="1200">
          <a:solidFill>
            <a:schemeClr val="tx1"/>
          </a:solidFill>
          <a:latin typeface="+mn-lt"/>
          <a:ea typeface="+mn-ea"/>
          <a:cs typeface="+mn-cs"/>
        </a:defRPr>
      </a:lvl2pPr>
      <a:lvl3pPr marL="1781937" indent="-356387" algn="r" defTabSz="1425550" rtl="1" eaLnBrk="1" latinLnBrk="0" hangingPunct="1">
        <a:lnSpc>
          <a:spcPct val="90000"/>
        </a:lnSpc>
        <a:spcBef>
          <a:spcPts val="780"/>
        </a:spcBef>
        <a:buFont typeface="Arial" panose="020B0604020202020204" pitchFamily="34" charset="0"/>
        <a:buChar char="•"/>
        <a:defRPr sz="3118" kern="1200">
          <a:solidFill>
            <a:schemeClr val="tx1"/>
          </a:solidFill>
          <a:latin typeface="+mn-lt"/>
          <a:ea typeface="+mn-ea"/>
          <a:cs typeface="+mn-cs"/>
        </a:defRPr>
      </a:lvl3pPr>
      <a:lvl4pPr marL="2494712"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4pPr>
      <a:lvl5pPr marL="3207487"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5pPr>
      <a:lvl6pPr marL="3920261"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r" defTabSz="1425550" rtl="1"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p:bodyStyle>
    <p:otherStyle>
      <a:defPPr>
        <a:defRPr lang="en-US"/>
      </a:defPPr>
      <a:lvl1pPr marL="0" algn="r" defTabSz="1425550" rtl="1" eaLnBrk="1" latinLnBrk="0" hangingPunct="1">
        <a:defRPr sz="2806" kern="1200">
          <a:solidFill>
            <a:schemeClr val="tx1"/>
          </a:solidFill>
          <a:latin typeface="+mn-lt"/>
          <a:ea typeface="+mn-ea"/>
          <a:cs typeface="+mn-cs"/>
        </a:defRPr>
      </a:lvl1pPr>
      <a:lvl2pPr marL="712775" algn="r" defTabSz="1425550" rtl="1" eaLnBrk="1" latinLnBrk="0" hangingPunct="1">
        <a:defRPr sz="2806" kern="1200">
          <a:solidFill>
            <a:schemeClr val="tx1"/>
          </a:solidFill>
          <a:latin typeface="+mn-lt"/>
          <a:ea typeface="+mn-ea"/>
          <a:cs typeface="+mn-cs"/>
        </a:defRPr>
      </a:lvl2pPr>
      <a:lvl3pPr marL="1425550" algn="r" defTabSz="1425550" rtl="1" eaLnBrk="1" latinLnBrk="0" hangingPunct="1">
        <a:defRPr sz="2806" kern="1200">
          <a:solidFill>
            <a:schemeClr val="tx1"/>
          </a:solidFill>
          <a:latin typeface="+mn-lt"/>
          <a:ea typeface="+mn-ea"/>
          <a:cs typeface="+mn-cs"/>
        </a:defRPr>
      </a:lvl3pPr>
      <a:lvl4pPr marL="2138324" algn="r" defTabSz="1425550" rtl="1" eaLnBrk="1" latinLnBrk="0" hangingPunct="1">
        <a:defRPr sz="2806" kern="1200">
          <a:solidFill>
            <a:schemeClr val="tx1"/>
          </a:solidFill>
          <a:latin typeface="+mn-lt"/>
          <a:ea typeface="+mn-ea"/>
          <a:cs typeface="+mn-cs"/>
        </a:defRPr>
      </a:lvl4pPr>
      <a:lvl5pPr marL="2851099" algn="r" defTabSz="1425550" rtl="1" eaLnBrk="1" latinLnBrk="0" hangingPunct="1">
        <a:defRPr sz="2806" kern="1200">
          <a:solidFill>
            <a:schemeClr val="tx1"/>
          </a:solidFill>
          <a:latin typeface="+mn-lt"/>
          <a:ea typeface="+mn-ea"/>
          <a:cs typeface="+mn-cs"/>
        </a:defRPr>
      </a:lvl5pPr>
      <a:lvl6pPr marL="3563874" algn="r" defTabSz="1425550" rtl="1" eaLnBrk="1" latinLnBrk="0" hangingPunct="1">
        <a:defRPr sz="2806" kern="1200">
          <a:solidFill>
            <a:schemeClr val="tx1"/>
          </a:solidFill>
          <a:latin typeface="+mn-lt"/>
          <a:ea typeface="+mn-ea"/>
          <a:cs typeface="+mn-cs"/>
        </a:defRPr>
      </a:lvl6pPr>
      <a:lvl7pPr marL="4276649" algn="r" defTabSz="1425550" rtl="1" eaLnBrk="1" latinLnBrk="0" hangingPunct="1">
        <a:defRPr sz="2806" kern="1200">
          <a:solidFill>
            <a:schemeClr val="tx1"/>
          </a:solidFill>
          <a:latin typeface="+mn-lt"/>
          <a:ea typeface="+mn-ea"/>
          <a:cs typeface="+mn-cs"/>
        </a:defRPr>
      </a:lvl7pPr>
      <a:lvl8pPr marL="4989424" algn="r" defTabSz="1425550" rtl="1" eaLnBrk="1" latinLnBrk="0" hangingPunct="1">
        <a:defRPr sz="2806" kern="1200">
          <a:solidFill>
            <a:schemeClr val="tx1"/>
          </a:solidFill>
          <a:latin typeface="+mn-lt"/>
          <a:ea typeface="+mn-ea"/>
          <a:cs typeface="+mn-cs"/>
        </a:defRPr>
      </a:lvl8pPr>
      <a:lvl9pPr marL="5702198" algn="r" defTabSz="1425550" rtl="1" eaLnBrk="1" latinLnBrk="0" hangingPunct="1">
        <a:defRPr sz="280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11.jpe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Layout" Target="../diagrams/layout3.xml"/><Relationship Id="rId7" Type="http://schemas.openxmlformats.org/officeDocument/2006/relationships/chart" Target="../charts/chart1.xml"/><Relationship Id="rId12" Type="http://schemas.microsoft.com/office/2007/relationships/diagramDrawing" Target="../diagrams/drawing4.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11" Type="http://schemas.openxmlformats.org/officeDocument/2006/relationships/diagramColors" Target="../diagrams/colors4.xml"/><Relationship Id="rId5" Type="http://schemas.openxmlformats.org/officeDocument/2006/relationships/diagramColors" Target="../diagrams/colors3.xml"/><Relationship Id="rId10" Type="http://schemas.openxmlformats.org/officeDocument/2006/relationships/diagramQuickStyle" Target="../diagrams/quickStyle4.xml"/><Relationship Id="rId4" Type="http://schemas.openxmlformats.org/officeDocument/2006/relationships/diagramQuickStyle" Target="../diagrams/quickStyle3.xml"/><Relationship Id="rId9"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 Type="http://schemas.openxmlformats.org/officeDocument/2006/relationships/image" Target="../media/image15.png"/><Relationship Id="rId16" Type="http://schemas.openxmlformats.org/officeDocument/2006/relationships/diagramColors" Target="../diagrams/colors8.xml"/><Relationship Id="rId1" Type="http://schemas.openxmlformats.org/officeDocument/2006/relationships/slideLayout" Target="../slideLayouts/slideLayout1.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a:xfrm>
            <a:off x="1889919" y="3176118"/>
            <a:ext cx="11339513" cy="2960873"/>
          </a:xfrm>
        </p:spPr>
        <p:txBody>
          <a:bodyPr/>
          <a:lstStyle/>
          <a:p>
            <a:r>
              <a:rPr lang="ar-EG" dirty="0"/>
              <a:t>المشروعات المتأهلة على مستوى المحافظات</a:t>
            </a:r>
            <a:endParaRPr lang="en-US" dirty="0"/>
          </a:p>
        </p:txBody>
      </p:sp>
      <p:sp>
        <p:nvSpPr>
          <p:cNvPr id="4" name="Subtitle 2"/>
          <p:cNvSpPr>
            <a:spLocks noGrp="1"/>
          </p:cNvSpPr>
          <p:nvPr>
            <p:ph type="subTitle" idx="1"/>
          </p:nvPr>
        </p:nvSpPr>
        <p:spPr>
          <a:xfrm>
            <a:off x="1889919" y="6251174"/>
            <a:ext cx="11339513" cy="2053317"/>
          </a:xfrm>
        </p:spPr>
        <p:txBody>
          <a:bodyPr/>
          <a:lstStyle/>
          <a:p>
            <a:r>
              <a:rPr lang="ar-EG" dirty="0"/>
              <a:t>المبادرة الوطنية للمشروعات الخضراء الذكية</a:t>
            </a:r>
            <a:endParaRPr lang="en-US" dirty="0"/>
          </a:p>
          <a:p>
            <a:r>
              <a:rPr lang="ar-EG" dirty="0"/>
              <a:t>محافظة الشرقية</a:t>
            </a:r>
            <a:r>
              <a:rPr lang="en-US" dirty="0"/>
              <a:t>-</a:t>
            </a:r>
            <a:r>
              <a:rPr lang="ar-EG" dirty="0"/>
              <a:t>المشروعات الكبيرة </a:t>
            </a:r>
            <a:endParaRPr lang="en-US" dirty="0"/>
          </a:p>
        </p:txBody>
      </p:sp>
    </p:spTree>
    <p:extLst>
      <p:ext uri="{BB962C8B-B14F-4D97-AF65-F5344CB8AC3E}">
        <p14:creationId xmlns:p14="http://schemas.microsoft.com/office/powerpoint/2010/main" val="2385106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138147" y="2224258"/>
            <a:ext cx="13040439" cy="1643836"/>
          </a:xfrm>
          <a:prstGeom prst="rect">
            <a:avLst/>
          </a:prstGeom>
        </p:spPr>
        <p:txBody>
          <a:bodyPr vert="horz" lIns="113395" tIns="56698" rIns="113395" bIns="5669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defTabSz="1133947" rtl="1">
              <a:defRPr/>
            </a:pP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عن المشروع وفكرته</a:t>
            </a:r>
            <a:endParaRPr lang="en-US" sz="5456" dirty="0">
              <a:solidFill>
                <a:srgbClr val="FF0000"/>
              </a:solidFill>
              <a:effectLst>
                <a:outerShdw blurRad="38100" dist="38100" dir="2700000" algn="tl">
                  <a:srgbClr val="000000">
                    <a:alpha val="43137"/>
                  </a:srgbClr>
                </a:outerShdw>
              </a:effectLst>
              <a:latin typeface="Calibri Light" panose="020F0302020204030204"/>
            </a:endParaRPr>
          </a:p>
        </p:txBody>
      </p:sp>
      <p:sp>
        <p:nvSpPr>
          <p:cNvPr id="9" name="Content Placeholder 2"/>
          <p:cNvSpPr txBox="1">
            <a:spLocks/>
          </p:cNvSpPr>
          <p:nvPr/>
        </p:nvSpPr>
        <p:spPr>
          <a:xfrm>
            <a:off x="920983" y="3658966"/>
            <a:ext cx="14079895"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buClr>
                <a:prstClr val="black"/>
              </a:buClr>
              <a:buSzPct val="100000"/>
              <a:defRPr/>
            </a:pPr>
            <a:r>
              <a:rPr lang="ar-EG" sz="2976" dirty="0">
                <a:solidFill>
                  <a:prstClr val="black"/>
                </a:solidFill>
                <a:ea typeface="Calibri" panose="020F0502020204030204" pitchFamily="34" charset="0"/>
                <a:cs typeface="Times New Roman" panose="02020603050405020304" pitchFamily="18" charset="0"/>
              </a:rPr>
              <a:t>أسم المشروع:  </a:t>
            </a:r>
            <a:r>
              <a:rPr lang="ar-EG" sz="248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مأمونية تداول الحمأة لحماية البيئة والصحة العامة بمحافظة الشرقية</a:t>
            </a:r>
            <a:endParaRPr lang="ar-EG" sz="2976" dirty="0">
              <a:solidFill>
                <a:prstClr val="black"/>
              </a:solidFill>
              <a:ea typeface="Calibri" panose="020F0502020204030204" pitchFamily="34" charset="0"/>
              <a:cs typeface="Times New Roman" panose="02020603050405020304" pitchFamily="18" charset="0"/>
            </a:endParaRPr>
          </a:p>
          <a:p>
            <a:pPr lvl="0" algn="r" rtl="1">
              <a:buClr>
                <a:prstClr val="black"/>
              </a:buClr>
              <a:buSzPct val="100000"/>
              <a:defRPr/>
            </a:pPr>
            <a:r>
              <a:rPr lang="ar-EG" sz="2976" dirty="0">
                <a:solidFill>
                  <a:prstClr val="black"/>
                </a:solidFill>
                <a:cs typeface="Times New Roman" panose="02020603050405020304" pitchFamily="18" charset="0"/>
              </a:rPr>
              <a:t>عن مقدم المشروع: </a:t>
            </a:r>
            <a:r>
              <a:rPr lang="ar-SA" sz="2976"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أميرة هاني محمد عبدالعال</a:t>
            </a:r>
            <a:r>
              <a:rPr lang="ar-EG" sz="2976"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t>
            </a:r>
          </a:p>
          <a:p>
            <a:pPr marL="283487" indent="-283487" algn="r" defTabSz="1133947" rtl="1">
              <a:spcBef>
                <a:spcPts val="1240"/>
              </a:spcBef>
              <a:buClr>
                <a:prstClr val="black"/>
              </a:buClr>
              <a:buSzPct val="100000"/>
              <a:defRPr/>
            </a:pPr>
            <a:r>
              <a:rPr lang="ar-EG" sz="2976" dirty="0">
                <a:solidFill>
                  <a:prstClr val="black"/>
                </a:solidFill>
                <a:latin typeface="Calibri" panose="020F0502020204030204"/>
                <a:cs typeface="Times New Roman" panose="02020603050405020304" pitchFamily="18" charset="0"/>
              </a:rPr>
              <a:t>الجهه: </a:t>
            </a:r>
            <a:r>
              <a:rPr lang="ar-SA" sz="2976" dirty="0">
                <a:solidFill>
                  <a:prstClr val="black"/>
                </a:solidFill>
                <a:latin typeface="Calibri" panose="020F0502020204030204"/>
                <a:ea typeface="Calibri" panose="020F0502020204030204" pitchFamily="34" charset="0"/>
                <a:cs typeface="Times New Roman" panose="02020603050405020304" pitchFamily="18" charset="0"/>
              </a:rPr>
              <a:t>الشركة القابضة لمياه الشرب والصرف الصحى</a:t>
            </a:r>
            <a:endParaRPr lang="ar-EG" sz="2976" dirty="0">
              <a:solidFill>
                <a:prstClr val="black"/>
              </a:solidFill>
              <a:latin typeface="Calibri" panose="020F0502020204030204"/>
              <a:ea typeface="Calibri" panose="020F0502020204030204" pitchFamily="34" charset="0"/>
              <a:cs typeface="Times New Roman" panose="02020603050405020304" pitchFamily="18" charset="0"/>
            </a:endParaRPr>
          </a:p>
          <a:p>
            <a:pPr algn="r" rtl="1">
              <a:buClr>
                <a:prstClr val="black"/>
              </a:buClr>
              <a:buSzPct val="100000"/>
              <a:defRPr/>
            </a:pPr>
            <a:r>
              <a:rPr lang="ar-EG" sz="2976" dirty="0">
                <a:solidFill>
                  <a:prstClr val="black"/>
                </a:solidFill>
                <a:latin typeface="Calibri" panose="020F0502020204030204"/>
                <a:cs typeface="Times New Roman" panose="02020603050405020304" pitchFamily="18" charset="0"/>
              </a:rPr>
              <a:t>فريق العمل الخاص بالمشروع</a:t>
            </a:r>
            <a:endParaRPr lang="en-US" sz="2976" dirty="0">
              <a:solidFill>
                <a:prstClr val="black"/>
              </a:solidFill>
              <a:latin typeface="Calibri" panose="020F0502020204030204"/>
              <a:cs typeface="Times New Roman" panose="02020603050405020304" pitchFamily="18" charset="0"/>
            </a:endParaRPr>
          </a:p>
          <a:p>
            <a:pPr marL="0" indent="0" algn="ctr" defTabSz="1133947" rtl="1">
              <a:spcBef>
                <a:spcPts val="1240"/>
              </a:spcBef>
              <a:buClr>
                <a:prstClr val="black"/>
              </a:buClr>
              <a:buSzPct val="100000"/>
              <a:buNone/>
              <a:defRPr/>
            </a:pPr>
            <a:r>
              <a:rPr lang="ar-EG" sz="3968" dirty="0">
                <a:solidFill>
                  <a:prstClr val="black"/>
                </a:solidFill>
                <a:latin typeface="Calibri" panose="020F0502020204030204"/>
                <a:ea typeface="Calibri" panose="020F0502020204030204" pitchFamily="34" charset="0"/>
                <a:cs typeface="Times New Roman" panose="02020603050405020304" pitchFamily="18" charset="0"/>
              </a:rPr>
              <a:t> </a:t>
            </a:r>
            <a:endParaRPr lang="en-US" sz="3968" dirty="0">
              <a:solidFill>
                <a:prstClr val="black"/>
              </a:solidFill>
              <a:latin typeface="Calibri" panose="020F0502020204030204"/>
              <a:ea typeface="Calibri" panose="020F0502020204030204" pitchFamily="34" charset="0"/>
              <a:cs typeface="Times New Roman" panose="02020603050405020304" pitchFamily="18" charset="0"/>
            </a:endParaRPr>
          </a:p>
        </p:txBody>
      </p:sp>
      <p:grpSp>
        <p:nvGrpSpPr>
          <p:cNvPr id="2" name="Working2" descr="{&quot;Key&quot;:&quot;POWER_USER_SHAPE_ICON&quot;,&quot;Value&quot;:&quot;POWER_USER_SHAPE_ICON_STYLE_1&quot;}">
            <a:extLst>
              <a:ext uri="{FF2B5EF4-FFF2-40B4-BE49-F238E27FC236}">
                <a16:creationId xmlns:a16="http://schemas.microsoft.com/office/drawing/2014/main" id="{BE06DFE9-8B0E-6762-6F52-9CB63B214A46}"/>
              </a:ext>
            </a:extLst>
          </p:cNvPr>
          <p:cNvGrpSpPr>
            <a:grpSpLocks noChangeAspect="1"/>
          </p:cNvGrpSpPr>
          <p:nvPr>
            <p:custDataLst>
              <p:tags r:id="rId1"/>
            </p:custDataLst>
          </p:nvPr>
        </p:nvGrpSpPr>
        <p:grpSpPr>
          <a:xfrm>
            <a:off x="9843164" y="5318056"/>
            <a:ext cx="1030200" cy="766621"/>
            <a:chOff x="4248150" y="5802313"/>
            <a:chExt cx="949325" cy="706438"/>
          </a:xfrm>
        </p:grpSpPr>
        <p:sp>
          <p:nvSpPr>
            <p:cNvPr id="3" name="Freeform 187">
              <a:extLst>
                <a:ext uri="{FF2B5EF4-FFF2-40B4-BE49-F238E27FC236}">
                  <a16:creationId xmlns:a16="http://schemas.microsoft.com/office/drawing/2014/main" id="{DD5A742B-07DD-897F-78E1-6A9569C33AF8}"/>
                </a:ext>
              </a:extLst>
            </p:cNvPr>
            <p:cNvSpPr>
              <a:spLocks/>
            </p:cNvSpPr>
            <p:nvPr/>
          </p:nvSpPr>
          <p:spPr bwMode="auto">
            <a:xfrm>
              <a:off x="4686300" y="6154738"/>
              <a:ext cx="90488" cy="90488"/>
            </a:xfrm>
            <a:custGeom>
              <a:avLst/>
              <a:gdLst>
                <a:gd name="T0" fmla="*/ 106 w 120"/>
                <a:gd name="T1" fmla="*/ 87 h 121"/>
                <a:gd name="T2" fmla="*/ 34 w 120"/>
                <a:gd name="T3" fmla="*/ 106 h 121"/>
                <a:gd name="T4" fmla="*/ 15 w 120"/>
                <a:gd name="T5" fmla="*/ 34 h 121"/>
                <a:gd name="T6" fmla="*/ 87 w 120"/>
                <a:gd name="T7" fmla="*/ 15 h 121"/>
                <a:gd name="T8" fmla="*/ 106 w 120"/>
                <a:gd name="T9" fmla="*/ 87 h 121"/>
              </a:gdLst>
              <a:ahLst/>
              <a:cxnLst>
                <a:cxn ang="0">
                  <a:pos x="T0" y="T1"/>
                </a:cxn>
                <a:cxn ang="0">
                  <a:pos x="T2" y="T3"/>
                </a:cxn>
                <a:cxn ang="0">
                  <a:pos x="T4" y="T5"/>
                </a:cxn>
                <a:cxn ang="0">
                  <a:pos x="T6" y="T7"/>
                </a:cxn>
                <a:cxn ang="0">
                  <a:pos x="T8" y="T9"/>
                </a:cxn>
              </a:cxnLst>
              <a:rect l="0" t="0" r="r" b="b"/>
              <a:pathLst>
                <a:path w="120" h="121">
                  <a:moveTo>
                    <a:pt x="106" y="87"/>
                  </a:moveTo>
                  <a:cubicBezTo>
                    <a:pt x="91" y="112"/>
                    <a:pt x="59" y="121"/>
                    <a:pt x="34" y="106"/>
                  </a:cubicBezTo>
                  <a:cubicBezTo>
                    <a:pt x="8" y="91"/>
                    <a:pt x="0" y="59"/>
                    <a:pt x="15" y="34"/>
                  </a:cubicBezTo>
                  <a:cubicBezTo>
                    <a:pt x="29" y="9"/>
                    <a:pt x="62" y="0"/>
                    <a:pt x="87" y="15"/>
                  </a:cubicBezTo>
                  <a:cubicBezTo>
                    <a:pt x="112" y="30"/>
                    <a:pt x="120" y="62"/>
                    <a:pt x="106" y="87"/>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4" name="Freeform 188">
              <a:extLst>
                <a:ext uri="{FF2B5EF4-FFF2-40B4-BE49-F238E27FC236}">
                  <a16:creationId xmlns:a16="http://schemas.microsoft.com/office/drawing/2014/main" id="{82EC147F-3881-042F-DD91-5C3EE84BE17C}"/>
                </a:ext>
              </a:extLst>
            </p:cNvPr>
            <p:cNvSpPr>
              <a:spLocks/>
            </p:cNvSpPr>
            <p:nvPr/>
          </p:nvSpPr>
          <p:spPr bwMode="auto">
            <a:xfrm>
              <a:off x="4273550" y="6246813"/>
              <a:ext cx="217488" cy="169863"/>
            </a:xfrm>
            <a:custGeom>
              <a:avLst/>
              <a:gdLst>
                <a:gd name="T0" fmla="*/ 206 w 291"/>
                <a:gd name="T1" fmla="*/ 0 h 226"/>
                <a:gd name="T2" fmla="*/ 24 w 291"/>
                <a:gd name="T3" fmla="*/ 132 h 226"/>
                <a:gd name="T4" fmla="*/ 22 w 291"/>
                <a:gd name="T5" fmla="*/ 189 h 226"/>
                <a:gd name="T6" fmla="*/ 77 w 291"/>
                <a:gd name="T7" fmla="*/ 214 h 226"/>
                <a:gd name="T8" fmla="*/ 291 w 291"/>
                <a:gd name="T9" fmla="*/ 91 h 226"/>
              </a:gdLst>
              <a:ahLst/>
              <a:cxnLst>
                <a:cxn ang="0">
                  <a:pos x="T0" y="T1"/>
                </a:cxn>
                <a:cxn ang="0">
                  <a:pos x="T2" y="T3"/>
                </a:cxn>
                <a:cxn ang="0">
                  <a:pos x="T4" y="T5"/>
                </a:cxn>
                <a:cxn ang="0">
                  <a:pos x="T6" y="T7"/>
                </a:cxn>
                <a:cxn ang="0">
                  <a:pos x="T8" y="T9"/>
                </a:cxn>
              </a:cxnLst>
              <a:rect l="0" t="0" r="r" b="b"/>
              <a:pathLst>
                <a:path w="291" h="226">
                  <a:moveTo>
                    <a:pt x="206" y="0"/>
                  </a:moveTo>
                  <a:lnTo>
                    <a:pt x="24" y="132"/>
                  </a:lnTo>
                  <a:cubicBezTo>
                    <a:pt x="24" y="132"/>
                    <a:pt x="0" y="154"/>
                    <a:pt x="22" y="189"/>
                  </a:cubicBezTo>
                  <a:cubicBezTo>
                    <a:pt x="46" y="226"/>
                    <a:pt x="77" y="214"/>
                    <a:pt x="77" y="214"/>
                  </a:cubicBezTo>
                  <a:lnTo>
                    <a:pt x="291" y="91"/>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6" name="Freeform 189">
              <a:extLst>
                <a:ext uri="{FF2B5EF4-FFF2-40B4-BE49-F238E27FC236}">
                  <a16:creationId xmlns:a16="http://schemas.microsoft.com/office/drawing/2014/main" id="{1F2EA529-F241-ADF6-450C-3748744D33A3}"/>
                </a:ext>
              </a:extLst>
            </p:cNvPr>
            <p:cNvSpPr>
              <a:spLocks/>
            </p:cNvSpPr>
            <p:nvPr/>
          </p:nvSpPr>
          <p:spPr bwMode="auto">
            <a:xfrm>
              <a:off x="4248150" y="5818188"/>
              <a:ext cx="465138" cy="690563"/>
            </a:xfrm>
            <a:custGeom>
              <a:avLst/>
              <a:gdLst>
                <a:gd name="T0" fmla="*/ 30 w 621"/>
                <a:gd name="T1" fmla="*/ 14 h 919"/>
                <a:gd name="T2" fmla="*/ 5 w 621"/>
                <a:gd name="T3" fmla="*/ 81 h 919"/>
                <a:gd name="T4" fmla="*/ 168 w 621"/>
                <a:gd name="T5" fmla="*/ 366 h 919"/>
                <a:gd name="T6" fmla="*/ 203 w 621"/>
                <a:gd name="T7" fmla="*/ 505 h 919"/>
                <a:gd name="T8" fmla="*/ 226 w 621"/>
                <a:gd name="T9" fmla="*/ 553 h 919"/>
                <a:gd name="T10" fmla="*/ 338 w 621"/>
                <a:gd name="T11" fmla="*/ 674 h 919"/>
                <a:gd name="T12" fmla="*/ 251 w 621"/>
                <a:gd name="T13" fmla="*/ 853 h 919"/>
                <a:gd name="T14" fmla="*/ 274 w 621"/>
                <a:gd name="T15" fmla="*/ 906 h 919"/>
                <a:gd name="T16" fmla="*/ 334 w 621"/>
                <a:gd name="T17" fmla="*/ 899 h 919"/>
                <a:gd name="T18" fmla="*/ 468 w 621"/>
                <a:gd name="T19" fmla="*/ 677 h 919"/>
                <a:gd name="T20" fmla="*/ 469 w 621"/>
                <a:gd name="T21" fmla="*/ 641 h 919"/>
                <a:gd name="T22" fmla="*/ 378 w 621"/>
                <a:gd name="T23" fmla="*/ 473 h 919"/>
                <a:gd name="T24" fmla="*/ 356 w 621"/>
                <a:gd name="T25" fmla="*/ 383 h 919"/>
                <a:gd name="T26" fmla="*/ 598 w 621"/>
                <a:gd name="T27" fmla="*/ 208 h 919"/>
                <a:gd name="T28" fmla="*/ 602 w 621"/>
                <a:gd name="T29" fmla="*/ 130 h 919"/>
                <a:gd name="T30" fmla="*/ 533 w 621"/>
                <a:gd name="T31" fmla="*/ 133 h 919"/>
                <a:gd name="T32" fmla="*/ 275 w 621"/>
                <a:gd name="T33" fmla="*/ 253 h 919"/>
                <a:gd name="T34" fmla="*/ 89 w 621"/>
                <a:gd name="T35" fmla="*/ 42 h 919"/>
                <a:gd name="T36" fmla="*/ 30 w 621"/>
                <a:gd name="T37" fmla="*/ 14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919">
                  <a:moveTo>
                    <a:pt x="30" y="14"/>
                  </a:moveTo>
                  <a:cubicBezTo>
                    <a:pt x="9" y="23"/>
                    <a:pt x="0" y="55"/>
                    <a:pt x="5" y="81"/>
                  </a:cubicBezTo>
                  <a:cubicBezTo>
                    <a:pt x="34" y="248"/>
                    <a:pt x="144" y="343"/>
                    <a:pt x="168" y="366"/>
                  </a:cubicBezTo>
                  <a:cubicBezTo>
                    <a:pt x="179" y="409"/>
                    <a:pt x="196" y="477"/>
                    <a:pt x="203" y="505"/>
                  </a:cubicBezTo>
                  <a:cubicBezTo>
                    <a:pt x="211" y="534"/>
                    <a:pt x="213" y="537"/>
                    <a:pt x="226" y="553"/>
                  </a:cubicBezTo>
                  <a:cubicBezTo>
                    <a:pt x="254" y="587"/>
                    <a:pt x="338" y="674"/>
                    <a:pt x="338" y="674"/>
                  </a:cubicBezTo>
                  <a:lnTo>
                    <a:pt x="251" y="853"/>
                  </a:lnTo>
                  <a:cubicBezTo>
                    <a:pt x="251" y="853"/>
                    <a:pt x="237" y="886"/>
                    <a:pt x="274" y="906"/>
                  </a:cubicBezTo>
                  <a:cubicBezTo>
                    <a:pt x="297" y="919"/>
                    <a:pt x="325" y="914"/>
                    <a:pt x="334" y="899"/>
                  </a:cubicBezTo>
                  <a:lnTo>
                    <a:pt x="468" y="677"/>
                  </a:lnTo>
                  <a:cubicBezTo>
                    <a:pt x="475" y="667"/>
                    <a:pt x="475" y="651"/>
                    <a:pt x="469" y="641"/>
                  </a:cubicBezTo>
                  <a:lnTo>
                    <a:pt x="378" y="473"/>
                  </a:lnTo>
                  <a:lnTo>
                    <a:pt x="356" y="383"/>
                  </a:lnTo>
                  <a:cubicBezTo>
                    <a:pt x="356" y="383"/>
                    <a:pt x="503" y="346"/>
                    <a:pt x="598" y="208"/>
                  </a:cubicBezTo>
                  <a:cubicBezTo>
                    <a:pt x="614" y="187"/>
                    <a:pt x="621" y="149"/>
                    <a:pt x="602" y="130"/>
                  </a:cubicBezTo>
                  <a:cubicBezTo>
                    <a:pt x="583" y="112"/>
                    <a:pt x="551" y="114"/>
                    <a:pt x="533" y="133"/>
                  </a:cubicBezTo>
                  <a:cubicBezTo>
                    <a:pt x="418" y="252"/>
                    <a:pt x="342" y="266"/>
                    <a:pt x="275" y="253"/>
                  </a:cubicBezTo>
                  <a:cubicBezTo>
                    <a:pt x="144" y="226"/>
                    <a:pt x="111" y="108"/>
                    <a:pt x="89" y="42"/>
                  </a:cubicBezTo>
                  <a:cubicBezTo>
                    <a:pt x="82" y="20"/>
                    <a:pt x="64" y="0"/>
                    <a:pt x="30" y="14"/>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7" name="Freeform 190">
              <a:extLst>
                <a:ext uri="{FF2B5EF4-FFF2-40B4-BE49-F238E27FC236}">
                  <a16:creationId xmlns:a16="http://schemas.microsoft.com/office/drawing/2014/main" id="{8B8D1F04-C7CC-0504-A046-5DDE7EA0A46D}"/>
                </a:ext>
              </a:extLst>
            </p:cNvPr>
            <p:cNvSpPr>
              <a:spLocks/>
            </p:cNvSpPr>
            <p:nvPr/>
          </p:nvSpPr>
          <p:spPr bwMode="auto">
            <a:xfrm>
              <a:off x="4397375" y="5802313"/>
              <a:ext cx="163513" cy="163513"/>
            </a:xfrm>
            <a:custGeom>
              <a:avLst/>
              <a:gdLst>
                <a:gd name="T0" fmla="*/ 10 w 218"/>
                <a:gd name="T1" fmla="*/ 91 h 217"/>
                <a:gd name="T2" fmla="*/ 92 w 218"/>
                <a:gd name="T3" fmla="*/ 208 h 217"/>
                <a:gd name="T4" fmla="*/ 209 w 218"/>
                <a:gd name="T5" fmla="*/ 126 h 217"/>
                <a:gd name="T6" fmla="*/ 126 w 218"/>
                <a:gd name="T7" fmla="*/ 9 h 217"/>
                <a:gd name="T8" fmla="*/ 10 w 218"/>
                <a:gd name="T9" fmla="*/ 91 h 217"/>
              </a:gdLst>
              <a:ahLst/>
              <a:cxnLst>
                <a:cxn ang="0">
                  <a:pos x="T0" y="T1"/>
                </a:cxn>
                <a:cxn ang="0">
                  <a:pos x="T2" y="T3"/>
                </a:cxn>
                <a:cxn ang="0">
                  <a:pos x="T4" y="T5"/>
                </a:cxn>
                <a:cxn ang="0">
                  <a:pos x="T6" y="T7"/>
                </a:cxn>
                <a:cxn ang="0">
                  <a:pos x="T8" y="T9"/>
                </a:cxn>
              </a:cxnLst>
              <a:rect l="0" t="0" r="r" b="b"/>
              <a:pathLst>
                <a:path w="218" h="217">
                  <a:moveTo>
                    <a:pt x="10" y="91"/>
                  </a:moveTo>
                  <a:cubicBezTo>
                    <a:pt x="0" y="146"/>
                    <a:pt x="37" y="198"/>
                    <a:pt x="92" y="208"/>
                  </a:cubicBezTo>
                  <a:cubicBezTo>
                    <a:pt x="147" y="217"/>
                    <a:pt x="199" y="181"/>
                    <a:pt x="209" y="126"/>
                  </a:cubicBezTo>
                  <a:cubicBezTo>
                    <a:pt x="218" y="71"/>
                    <a:pt x="181" y="18"/>
                    <a:pt x="126" y="9"/>
                  </a:cubicBezTo>
                  <a:cubicBezTo>
                    <a:pt x="71" y="0"/>
                    <a:pt x="19" y="36"/>
                    <a:pt x="10" y="91"/>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10" name="Freeform 191">
              <a:extLst>
                <a:ext uri="{FF2B5EF4-FFF2-40B4-BE49-F238E27FC236}">
                  <a16:creationId xmlns:a16="http://schemas.microsoft.com/office/drawing/2014/main" id="{880CE0E2-1B76-2DFB-81EF-4BAC7CF4A91F}"/>
                </a:ext>
              </a:extLst>
            </p:cNvPr>
            <p:cNvSpPr>
              <a:spLocks/>
            </p:cNvSpPr>
            <p:nvPr/>
          </p:nvSpPr>
          <p:spPr bwMode="auto">
            <a:xfrm>
              <a:off x="4968875" y="6243638"/>
              <a:ext cx="204788" cy="160338"/>
            </a:xfrm>
            <a:custGeom>
              <a:avLst/>
              <a:gdLst>
                <a:gd name="T0" fmla="*/ 80 w 274"/>
                <a:gd name="T1" fmla="*/ 0 h 212"/>
                <a:gd name="T2" fmla="*/ 250 w 274"/>
                <a:gd name="T3" fmla="*/ 124 h 212"/>
                <a:gd name="T4" fmla="*/ 253 w 274"/>
                <a:gd name="T5" fmla="*/ 178 h 212"/>
                <a:gd name="T6" fmla="*/ 201 w 274"/>
                <a:gd name="T7" fmla="*/ 201 h 212"/>
                <a:gd name="T8" fmla="*/ 0 w 274"/>
                <a:gd name="T9" fmla="*/ 86 h 212"/>
              </a:gdLst>
              <a:ahLst/>
              <a:cxnLst>
                <a:cxn ang="0">
                  <a:pos x="T0" y="T1"/>
                </a:cxn>
                <a:cxn ang="0">
                  <a:pos x="T2" y="T3"/>
                </a:cxn>
                <a:cxn ang="0">
                  <a:pos x="T4" y="T5"/>
                </a:cxn>
                <a:cxn ang="0">
                  <a:pos x="T6" y="T7"/>
                </a:cxn>
                <a:cxn ang="0">
                  <a:pos x="T8" y="T9"/>
                </a:cxn>
              </a:cxnLst>
              <a:rect l="0" t="0" r="r" b="b"/>
              <a:pathLst>
                <a:path w="274" h="212">
                  <a:moveTo>
                    <a:pt x="80" y="0"/>
                  </a:moveTo>
                  <a:lnTo>
                    <a:pt x="250" y="124"/>
                  </a:lnTo>
                  <a:cubicBezTo>
                    <a:pt x="250" y="124"/>
                    <a:pt x="274" y="145"/>
                    <a:pt x="253" y="178"/>
                  </a:cubicBezTo>
                  <a:cubicBezTo>
                    <a:pt x="231" y="212"/>
                    <a:pt x="201" y="201"/>
                    <a:pt x="201" y="201"/>
                  </a:cubicBezTo>
                  <a:lnTo>
                    <a:pt x="0" y="86"/>
                  </a:lnTo>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11" name="Freeform 192">
              <a:extLst>
                <a:ext uri="{FF2B5EF4-FFF2-40B4-BE49-F238E27FC236}">
                  <a16:creationId xmlns:a16="http://schemas.microsoft.com/office/drawing/2014/main" id="{A5403A3A-67BA-0C0E-A2FD-66F97F5DDD94}"/>
                </a:ext>
              </a:extLst>
            </p:cNvPr>
            <p:cNvSpPr>
              <a:spLocks/>
            </p:cNvSpPr>
            <p:nvPr/>
          </p:nvSpPr>
          <p:spPr bwMode="auto">
            <a:xfrm>
              <a:off x="4759325" y="5842000"/>
              <a:ext cx="438150" cy="649288"/>
            </a:xfrm>
            <a:custGeom>
              <a:avLst/>
              <a:gdLst>
                <a:gd name="T0" fmla="*/ 555 w 584"/>
                <a:gd name="T1" fmla="*/ 13 h 863"/>
                <a:gd name="T2" fmla="*/ 579 w 584"/>
                <a:gd name="T3" fmla="*/ 76 h 863"/>
                <a:gd name="T4" fmla="*/ 426 w 584"/>
                <a:gd name="T5" fmla="*/ 344 h 863"/>
                <a:gd name="T6" fmla="*/ 392 w 584"/>
                <a:gd name="T7" fmla="*/ 474 h 863"/>
                <a:gd name="T8" fmla="*/ 371 w 584"/>
                <a:gd name="T9" fmla="*/ 519 h 863"/>
                <a:gd name="T10" fmla="*/ 266 w 584"/>
                <a:gd name="T11" fmla="*/ 633 h 863"/>
                <a:gd name="T12" fmla="*/ 348 w 584"/>
                <a:gd name="T13" fmla="*/ 801 h 863"/>
                <a:gd name="T14" fmla="*/ 326 w 584"/>
                <a:gd name="T15" fmla="*/ 851 h 863"/>
                <a:gd name="T16" fmla="*/ 269 w 584"/>
                <a:gd name="T17" fmla="*/ 844 h 863"/>
                <a:gd name="T18" fmla="*/ 143 w 584"/>
                <a:gd name="T19" fmla="*/ 636 h 863"/>
                <a:gd name="T20" fmla="*/ 142 w 584"/>
                <a:gd name="T21" fmla="*/ 602 h 863"/>
                <a:gd name="T22" fmla="*/ 228 w 584"/>
                <a:gd name="T23" fmla="*/ 444 h 863"/>
                <a:gd name="T24" fmla="*/ 249 w 584"/>
                <a:gd name="T25" fmla="*/ 360 h 863"/>
                <a:gd name="T26" fmla="*/ 21 w 584"/>
                <a:gd name="T27" fmla="*/ 195 h 863"/>
                <a:gd name="T28" fmla="*/ 18 w 584"/>
                <a:gd name="T29" fmla="*/ 122 h 863"/>
                <a:gd name="T30" fmla="*/ 83 w 584"/>
                <a:gd name="T31" fmla="*/ 124 h 863"/>
                <a:gd name="T32" fmla="*/ 325 w 584"/>
                <a:gd name="T33" fmla="*/ 237 h 863"/>
                <a:gd name="T34" fmla="*/ 500 w 584"/>
                <a:gd name="T35" fmla="*/ 39 h 863"/>
                <a:gd name="T36" fmla="*/ 555 w 584"/>
                <a:gd name="T37" fmla="*/ 1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4" h="863">
                  <a:moveTo>
                    <a:pt x="555" y="13"/>
                  </a:moveTo>
                  <a:cubicBezTo>
                    <a:pt x="575" y="21"/>
                    <a:pt x="584" y="52"/>
                    <a:pt x="579" y="76"/>
                  </a:cubicBezTo>
                  <a:cubicBezTo>
                    <a:pt x="552" y="232"/>
                    <a:pt x="448" y="321"/>
                    <a:pt x="426" y="344"/>
                  </a:cubicBezTo>
                  <a:cubicBezTo>
                    <a:pt x="415" y="384"/>
                    <a:pt x="399" y="448"/>
                    <a:pt x="392" y="474"/>
                  </a:cubicBezTo>
                  <a:cubicBezTo>
                    <a:pt x="385" y="501"/>
                    <a:pt x="383" y="505"/>
                    <a:pt x="371" y="519"/>
                  </a:cubicBezTo>
                  <a:cubicBezTo>
                    <a:pt x="345" y="552"/>
                    <a:pt x="266" y="633"/>
                    <a:pt x="266" y="633"/>
                  </a:cubicBezTo>
                  <a:lnTo>
                    <a:pt x="348" y="801"/>
                  </a:lnTo>
                  <a:cubicBezTo>
                    <a:pt x="348" y="801"/>
                    <a:pt x="360" y="832"/>
                    <a:pt x="326" y="851"/>
                  </a:cubicBezTo>
                  <a:cubicBezTo>
                    <a:pt x="304" y="863"/>
                    <a:pt x="278" y="858"/>
                    <a:pt x="269" y="844"/>
                  </a:cubicBezTo>
                  <a:lnTo>
                    <a:pt x="143" y="636"/>
                  </a:lnTo>
                  <a:cubicBezTo>
                    <a:pt x="137" y="627"/>
                    <a:pt x="137" y="611"/>
                    <a:pt x="142" y="602"/>
                  </a:cubicBezTo>
                  <a:lnTo>
                    <a:pt x="228" y="444"/>
                  </a:lnTo>
                  <a:lnTo>
                    <a:pt x="249" y="360"/>
                  </a:lnTo>
                  <a:cubicBezTo>
                    <a:pt x="249" y="360"/>
                    <a:pt x="111" y="324"/>
                    <a:pt x="21" y="195"/>
                  </a:cubicBezTo>
                  <a:cubicBezTo>
                    <a:pt x="6" y="176"/>
                    <a:pt x="0" y="140"/>
                    <a:pt x="18" y="122"/>
                  </a:cubicBezTo>
                  <a:cubicBezTo>
                    <a:pt x="36" y="105"/>
                    <a:pt x="66" y="107"/>
                    <a:pt x="83" y="124"/>
                  </a:cubicBezTo>
                  <a:cubicBezTo>
                    <a:pt x="190" y="236"/>
                    <a:pt x="262" y="250"/>
                    <a:pt x="325" y="237"/>
                  </a:cubicBezTo>
                  <a:cubicBezTo>
                    <a:pt x="448" y="212"/>
                    <a:pt x="479" y="101"/>
                    <a:pt x="500" y="39"/>
                  </a:cubicBezTo>
                  <a:cubicBezTo>
                    <a:pt x="506" y="18"/>
                    <a:pt x="523" y="0"/>
                    <a:pt x="555" y="13"/>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dirty="0">
                <a:solidFill>
                  <a:prstClr val="black"/>
                </a:solidFill>
                <a:latin typeface="Calibri" panose="020F0502020204030204"/>
              </a:endParaRPr>
            </a:p>
          </p:txBody>
        </p:sp>
        <p:sp>
          <p:nvSpPr>
            <p:cNvPr id="12" name="Freeform 193">
              <a:extLst>
                <a:ext uri="{FF2B5EF4-FFF2-40B4-BE49-F238E27FC236}">
                  <a16:creationId xmlns:a16="http://schemas.microsoft.com/office/drawing/2014/main" id="{84DCFC80-6020-C5D8-72EC-110711FF7A95}"/>
                </a:ext>
              </a:extLst>
            </p:cNvPr>
            <p:cNvSpPr>
              <a:spLocks/>
            </p:cNvSpPr>
            <p:nvPr/>
          </p:nvSpPr>
          <p:spPr bwMode="auto">
            <a:xfrm>
              <a:off x="4903788" y="5827713"/>
              <a:ext cx="152400" cy="153988"/>
            </a:xfrm>
            <a:custGeom>
              <a:avLst/>
              <a:gdLst>
                <a:gd name="T0" fmla="*/ 195 w 204"/>
                <a:gd name="T1" fmla="*/ 87 h 205"/>
                <a:gd name="T2" fmla="*/ 118 w 204"/>
                <a:gd name="T3" fmla="*/ 196 h 205"/>
                <a:gd name="T4" fmla="*/ 9 w 204"/>
                <a:gd name="T5" fmla="*/ 119 h 205"/>
                <a:gd name="T6" fmla="*/ 86 w 204"/>
                <a:gd name="T7" fmla="*/ 9 h 205"/>
                <a:gd name="T8" fmla="*/ 195 w 204"/>
                <a:gd name="T9" fmla="*/ 87 h 205"/>
              </a:gdLst>
              <a:ahLst/>
              <a:cxnLst>
                <a:cxn ang="0">
                  <a:pos x="T0" y="T1"/>
                </a:cxn>
                <a:cxn ang="0">
                  <a:pos x="T2" y="T3"/>
                </a:cxn>
                <a:cxn ang="0">
                  <a:pos x="T4" y="T5"/>
                </a:cxn>
                <a:cxn ang="0">
                  <a:pos x="T6" y="T7"/>
                </a:cxn>
                <a:cxn ang="0">
                  <a:pos x="T8" y="T9"/>
                </a:cxn>
              </a:cxnLst>
              <a:rect l="0" t="0" r="r" b="b"/>
              <a:pathLst>
                <a:path w="204" h="205">
                  <a:moveTo>
                    <a:pt x="195" y="87"/>
                  </a:moveTo>
                  <a:cubicBezTo>
                    <a:pt x="204" y="138"/>
                    <a:pt x="170" y="187"/>
                    <a:pt x="118" y="196"/>
                  </a:cubicBezTo>
                  <a:cubicBezTo>
                    <a:pt x="66" y="205"/>
                    <a:pt x="17" y="170"/>
                    <a:pt x="9" y="119"/>
                  </a:cubicBezTo>
                  <a:cubicBezTo>
                    <a:pt x="0" y="67"/>
                    <a:pt x="34" y="18"/>
                    <a:pt x="86" y="9"/>
                  </a:cubicBezTo>
                  <a:cubicBezTo>
                    <a:pt x="138" y="0"/>
                    <a:pt x="187" y="35"/>
                    <a:pt x="195" y="87"/>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sp>
          <p:nvSpPr>
            <p:cNvPr id="13" name="Freeform 194">
              <a:extLst>
                <a:ext uri="{FF2B5EF4-FFF2-40B4-BE49-F238E27FC236}">
                  <a16:creationId xmlns:a16="http://schemas.microsoft.com/office/drawing/2014/main" id="{899EED2C-943E-21E1-E33F-966AB3E2DFEE}"/>
                </a:ext>
              </a:extLst>
            </p:cNvPr>
            <p:cNvSpPr>
              <a:spLocks/>
            </p:cNvSpPr>
            <p:nvPr/>
          </p:nvSpPr>
          <p:spPr bwMode="auto">
            <a:xfrm>
              <a:off x="4614863" y="6089650"/>
              <a:ext cx="231775" cy="220663"/>
            </a:xfrm>
            <a:custGeom>
              <a:avLst/>
              <a:gdLst>
                <a:gd name="T0" fmla="*/ 204 w 308"/>
                <a:gd name="T1" fmla="*/ 293 h 293"/>
                <a:gd name="T2" fmla="*/ 192 w 308"/>
                <a:gd name="T3" fmla="*/ 286 h 293"/>
                <a:gd name="T4" fmla="*/ 177 w 308"/>
                <a:gd name="T5" fmla="*/ 264 h 293"/>
                <a:gd name="T6" fmla="*/ 154 w 308"/>
                <a:gd name="T7" fmla="*/ 267 h 293"/>
                <a:gd name="T8" fmla="*/ 130 w 308"/>
                <a:gd name="T9" fmla="*/ 264 h 293"/>
                <a:gd name="T10" fmla="*/ 114 w 308"/>
                <a:gd name="T11" fmla="*/ 286 h 293"/>
                <a:gd name="T12" fmla="*/ 103 w 308"/>
                <a:gd name="T13" fmla="*/ 292 h 293"/>
                <a:gd name="T14" fmla="*/ 96 w 308"/>
                <a:gd name="T15" fmla="*/ 290 h 293"/>
                <a:gd name="T16" fmla="*/ 57 w 308"/>
                <a:gd name="T17" fmla="*/ 268 h 293"/>
                <a:gd name="T18" fmla="*/ 51 w 308"/>
                <a:gd name="T19" fmla="*/ 260 h 293"/>
                <a:gd name="T20" fmla="*/ 52 w 308"/>
                <a:gd name="T21" fmla="*/ 249 h 293"/>
                <a:gd name="T22" fmla="*/ 63 w 308"/>
                <a:gd name="T23" fmla="*/ 225 h 293"/>
                <a:gd name="T24" fmla="*/ 40 w 308"/>
                <a:gd name="T25" fmla="*/ 185 h 293"/>
                <a:gd name="T26" fmla="*/ 13 w 308"/>
                <a:gd name="T27" fmla="*/ 182 h 293"/>
                <a:gd name="T28" fmla="*/ 4 w 308"/>
                <a:gd name="T29" fmla="*/ 178 h 293"/>
                <a:gd name="T30" fmla="*/ 1 w 308"/>
                <a:gd name="T31" fmla="*/ 168 h 293"/>
                <a:gd name="T32" fmla="*/ 1 w 308"/>
                <a:gd name="T33" fmla="*/ 124 h 293"/>
                <a:gd name="T34" fmla="*/ 14 w 308"/>
                <a:gd name="T35" fmla="*/ 110 h 293"/>
                <a:gd name="T36" fmla="*/ 41 w 308"/>
                <a:gd name="T37" fmla="*/ 107 h 293"/>
                <a:gd name="T38" fmla="*/ 64 w 308"/>
                <a:gd name="T39" fmla="*/ 67 h 293"/>
                <a:gd name="T40" fmla="*/ 53 w 308"/>
                <a:gd name="T41" fmla="*/ 42 h 293"/>
                <a:gd name="T42" fmla="*/ 59 w 308"/>
                <a:gd name="T43" fmla="*/ 24 h 293"/>
                <a:gd name="T44" fmla="*/ 98 w 308"/>
                <a:gd name="T45" fmla="*/ 2 h 293"/>
                <a:gd name="T46" fmla="*/ 104 w 308"/>
                <a:gd name="T47" fmla="*/ 0 h 293"/>
                <a:gd name="T48" fmla="*/ 116 w 308"/>
                <a:gd name="T49" fmla="*/ 7 h 293"/>
                <a:gd name="T50" fmla="*/ 132 w 308"/>
                <a:gd name="T51" fmla="*/ 28 h 293"/>
                <a:gd name="T52" fmla="*/ 154 w 308"/>
                <a:gd name="T53" fmla="*/ 26 h 293"/>
                <a:gd name="T54" fmla="*/ 178 w 308"/>
                <a:gd name="T55" fmla="*/ 29 h 293"/>
                <a:gd name="T56" fmla="*/ 194 w 308"/>
                <a:gd name="T57" fmla="*/ 7 h 293"/>
                <a:gd name="T58" fmla="*/ 206 w 308"/>
                <a:gd name="T59" fmla="*/ 1 h 293"/>
                <a:gd name="T60" fmla="*/ 212 w 308"/>
                <a:gd name="T61" fmla="*/ 2 h 293"/>
                <a:gd name="T62" fmla="*/ 251 w 308"/>
                <a:gd name="T63" fmla="*/ 25 h 293"/>
                <a:gd name="T64" fmla="*/ 257 w 308"/>
                <a:gd name="T65" fmla="*/ 33 h 293"/>
                <a:gd name="T66" fmla="*/ 256 w 308"/>
                <a:gd name="T67" fmla="*/ 43 h 293"/>
                <a:gd name="T68" fmla="*/ 245 w 308"/>
                <a:gd name="T69" fmla="*/ 68 h 293"/>
                <a:gd name="T70" fmla="*/ 268 w 308"/>
                <a:gd name="T71" fmla="*/ 108 h 293"/>
                <a:gd name="T72" fmla="*/ 295 w 308"/>
                <a:gd name="T73" fmla="*/ 111 h 293"/>
                <a:gd name="T74" fmla="*/ 308 w 308"/>
                <a:gd name="T75" fmla="*/ 124 h 293"/>
                <a:gd name="T76" fmla="*/ 308 w 308"/>
                <a:gd name="T77" fmla="*/ 169 h 293"/>
                <a:gd name="T78" fmla="*/ 304 w 308"/>
                <a:gd name="T79" fmla="*/ 179 h 293"/>
                <a:gd name="T80" fmla="*/ 294 w 308"/>
                <a:gd name="T81" fmla="*/ 183 h 293"/>
                <a:gd name="T82" fmla="*/ 268 w 308"/>
                <a:gd name="T83" fmla="*/ 186 h 293"/>
                <a:gd name="T84" fmla="*/ 244 w 308"/>
                <a:gd name="T85" fmla="*/ 226 h 293"/>
                <a:gd name="T86" fmla="*/ 255 w 308"/>
                <a:gd name="T87" fmla="*/ 251 h 293"/>
                <a:gd name="T88" fmla="*/ 250 w 308"/>
                <a:gd name="T89" fmla="*/ 269 h 293"/>
                <a:gd name="T90" fmla="*/ 211 w 308"/>
                <a:gd name="T91" fmla="*/ 291 h 293"/>
                <a:gd name="T92" fmla="*/ 204 w 308"/>
                <a:gd name="T93"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8" h="293">
                  <a:moveTo>
                    <a:pt x="204" y="293"/>
                  </a:moveTo>
                  <a:cubicBezTo>
                    <a:pt x="199" y="293"/>
                    <a:pt x="195" y="290"/>
                    <a:pt x="192" y="286"/>
                  </a:cubicBezTo>
                  <a:lnTo>
                    <a:pt x="177" y="264"/>
                  </a:lnTo>
                  <a:cubicBezTo>
                    <a:pt x="169" y="266"/>
                    <a:pt x="162" y="267"/>
                    <a:pt x="154" y="267"/>
                  </a:cubicBezTo>
                  <a:cubicBezTo>
                    <a:pt x="146" y="267"/>
                    <a:pt x="138" y="266"/>
                    <a:pt x="130" y="264"/>
                  </a:cubicBezTo>
                  <a:lnTo>
                    <a:pt x="114" y="286"/>
                  </a:lnTo>
                  <a:cubicBezTo>
                    <a:pt x="112" y="290"/>
                    <a:pt x="108" y="292"/>
                    <a:pt x="103" y="292"/>
                  </a:cubicBezTo>
                  <a:cubicBezTo>
                    <a:pt x="100" y="292"/>
                    <a:pt x="98" y="291"/>
                    <a:pt x="96" y="290"/>
                  </a:cubicBezTo>
                  <a:lnTo>
                    <a:pt x="57" y="268"/>
                  </a:lnTo>
                  <a:cubicBezTo>
                    <a:pt x="54" y="266"/>
                    <a:pt x="52" y="263"/>
                    <a:pt x="51" y="260"/>
                  </a:cubicBezTo>
                  <a:cubicBezTo>
                    <a:pt x="50" y="256"/>
                    <a:pt x="51" y="252"/>
                    <a:pt x="52" y="249"/>
                  </a:cubicBezTo>
                  <a:lnTo>
                    <a:pt x="63" y="225"/>
                  </a:lnTo>
                  <a:cubicBezTo>
                    <a:pt x="53" y="213"/>
                    <a:pt x="45" y="200"/>
                    <a:pt x="40" y="185"/>
                  </a:cubicBezTo>
                  <a:cubicBezTo>
                    <a:pt x="40" y="185"/>
                    <a:pt x="13" y="182"/>
                    <a:pt x="13" y="182"/>
                  </a:cubicBezTo>
                  <a:cubicBezTo>
                    <a:pt x="10" y="182"/>
                    <a:pt x="7" y="180"/>
                    <a:pt x="4" y="178"/>
                  </a:cubicBezTo>
                  <a:cubicBezTo>
                    <a:pt x="2" y="175"/>
                    <a:pt x="0" y="172"/>
                    <a:pt x="1" y="168"/>
                  </a:cubicBezTo>
                  <a:lnTo>
                    <a:pt x="1" y="124"/>
                  </a:lnTo>
                  <a:cubicBezTo>
                    <a:pt x="1" y="116"/>
                    <a:pt x="7" y="110"/>
                    <a:pt x="14" y="110"/>
                  </a:cubicBezTo>
                  <a:lnTo>
                    <a:pt x="41" y="107"/>
                  </a:lnTo>
                  <a:cubicBezTo>
                    <a:pt x="46" y="92"/>
                    <a:pt x="54" y="79"/>
                    <a:pt x="64" y="67"/>
                  </a:cubicBezTo>
                  <a:lnTo>
                    <a:pt x="53" y="42"/>
                  </a:lnTo>
                  <a:cubicBezTo>
                    <a:pt x="50" y="36"/>
                    <a:pt x="52" y="28"/>
                    <a:pt x="59" y="24"/>
                  </a:cubicBezTo>
                  <a:lnTo>
                    <a:pt x="98" y="2"/>
                  </a:lnTo>
                  <a:cubicBezTo>
                    <a:pt x="100" y="1"/>
                    <a:pt x="102" y="0"/>
                    <a:pt x="104" y="0"/>
                  </a:cubicBezTo>
                  <a:cubicBezTo>
                    <a:pt x="109" y="0"/>
                    <a:pt x="114" y="3"/>
                    <a:pt x="116" y="7"/>
                  </a:cubicBezTo>
                  <a:lnTo>
                    <a:pt x="132" y="28"/>
                  </a:lnTo>
                  <a:cubicBezTo>
                    <a:pt x="139" y="27"/>
                    <a:pt x="147" y="26"/>
                    <a:pt x="154" y="26"/>
                  </a:cubicBezTo>
                  <a:cubicBezTo>
                    <a:pt x="162" y="26"/>
                    <a:pt x="170" y="27"/>
                    <a:pt x="178" y="29"/>
                  </a:cubicBezTo>
                  <a:lnTo>
                    <a:pt x="194" y="7"/>
                  </a:lnTo>
                  <a:cubicBezTo>
                    <a:pt x="196" y="3"/>
                    <a:pt x="201" y="1"/>
                    <a:pt x="206" y="1"/>
                  </a:cubicBezTo>
                  <a:cubicBezTo>
                    <a:pt x="208" y="1"/>
                    <a:pt x="210" y="1"/>
                    <a:pt x="212" y="2"/>
                  </a:cubicBezTo>
                  <a:lnTo>
                    <a:pt x="251" y="25"/>
                  </a:lnTo>
                  <a:cubicBezTo>
                    <a:pt x="254" y="27"/>
                    <a:pt x="256" y="30"/>
                    <a:pt x="257" y="33"/>
                  </a:cubicBezTo>
                  <a:cubicBezTo>
                    <a:pt x="258" y="37"/>
                    <a:pt x="258" y="40"/>
                    <a:pt x="256" y="43"/>
                  </a:cubicBezTo>
                  <a:lnTo>
                    <a:pt x="245" y="68"/>
                  </a:lnTo>
                  <a:cubicBezTo>
                    <a:pt x="255" y="80"/>
                    <a:pt x="263" y="93"/>
                    <a:pt x="268" y="108"/>
                  </a:cubicBezTo>
                  <a:lnTo>
                    <a:pt x="295" y="111"/>
                  </a:lnTo>
                  <a:cubicBezTo>
                    <a:pt x="302" y="111"/>
                    <a:pt x="308" y="117"/>
                    <a:pt x="308" y="124"/>
                  </a:cubicBezTo>
                  <a:lnTo>
                    <a:pt x="308" y="169"/>
                  </a:lnTo>
                  <a:cubicBezTo>
                    <a:pt x="308" y="173"/>
                    <a:pt x="306" y="176"/>
                    <a:pt x="304" y="179"/>
                  </a:cubicBezTo>
                  <a:cubicBezTo>
                    <a:pt x="301" y="181"/>
                    <a:pt x="298" y="183"/>
                    <a:pt x="294" y="183"/>
                  </a:cubicBezTo>
                  <a:lnTo>
                    <a:pt x="268" y="186"/>
                  </a:lnTo>
                  <a:cubicBezTo>
                    <a:pt x="263" y="200"/>
                    <a:pt x="255" y="214"/>
                    <a:pt x="244" y="226"/>
                  </a:cubicBezTo>
                  <a:lnTo>
                    <a:pt x="255" y="251"/>
                  </a:lnTo>
                  <a:cubicBezTo>
                    <a:pt x="258" y="257"/>
                    <a:pt x="256" y="265"/>
                    <a:pt x="250" y="269"/>
                  </a:cubicBezTo>
                  <a:lnTo>
                    <a:pt x="211" y="291"/>
                  </a:lnTo>
                  <a:cubicBezTo>
                    <a:pt x="209" y="292"/>
                    <a:pt x="206" y="293"/>
                    <a:pt x="204" y="293"/>
                  </a:cubicBezTo>
                  <a:close/>
                </a:path>
              </a:pathLst>
            </a:custGeom>
            <a:noFill/>
            <a:ln w="19050"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13395" tIns="56698" rIns="113395" bIns="56698" numCol="1" anchor="t" anchorCtr="0" compatLnSpc="1">
              <a:prstTxWarp prst="textNoShape">
                <a:avLst/>
              </a:prstTxWarp>
            </a:bodyPr>
            <a:lstStyle/>
            <a:p>
              <a:pPr defTabSz="1133947">
                <a:defRPr/>
              </a:pPr>
              <a:endParaRPr lang="fr-FR" sz="2232">
                <a:solidFill>
                  <a:prstClr val="black"/>
                </a:solidFill>
                <a:latin typeface="Calibri" panose="020F0502020204030204"/>
              </a:endParaRPr>
            </a:p>
          </p:txBody>
        </p:sp>
      </p:grpSp>
      <p:graphicFrame>
        <p:nvGraphicFramePr>
          <p:cNvPr id="14" name="Diagram 13">
            <a:extLst>
              <a:ext uri="{FF2B5EF4-FFF2-40B4-BE49-F238E27FC236}">
                <a16:creationId xmlns:a16="http://schemas.microsoft.com/office/drawing/2014/main" id="{08713CF4-AAD1-52B8-9C86-F36F09D1641D}"/>
              </a:ext>
            </a:extLst>
          </p:cNvPr>
          <p:cNvGraphicFramePr/>
          <p:nvPr>
            <p:extLst>
              <p:ext uri="{D42A27DB-BD31-4B8C-83A1-F6EECF244321}">
                <p14:modId xmlns:p14="http://schemas.microsoft.com/office/powerpoint/2010/main" val="287580511"/>
              </p:ext>
            </p:extLst>
          </p:nvPr>
        </p:nvGraphicFramePr>
        <p:xfrm>
          <a:off x="6095214" y="6305187"/>
          <a:ext cx="8969159" cy="2138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Wave 14">
            <a:extLst>
              <a:ext uri="{FF2B5EF4-FFF2-40B4-BE49-F238E27FC236}">
                <a16:creationId xmlns:a16="http://schemas.microsoft.com/office/drawing/2014/main" id="{AFF6FC8B-8EC6-E188-65CD-691ECFF063AF}"/>
              </a:ext>
            </a:extLst>
          </p:cNvPr>
          <p:cNvSpPr/>
          <p:nvPr/>
        </p:nvSpPr>
        <p:spPr>
          <a:xfrm>
            <a:off x="444223" y="2482297"/>
            <a:ext cx="4895197" cy="3700746"/>
          </a:xfrm>
          <a:prstGeom prst="wave">
            <a:avLst>
              <a:gd name="adj1" fmla="val 12500"/>
              <a:gd name="adj2" fmla="val -478"/>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EG" sz="3025" b="1" dirty="0"/>
              <a:t>فكرة المشروع:</a:t>
            </a:r>
          </a:p>
          <a:p>
            <a:pPr algn="ctr"/>
            <a:r>
              <a:rPr lang="ar-EG" sz="3025" b="1" dirty="0"/>
              <a:t>معالجة المخلفات الصلبة الناتجة عن محطات الصرف الصحي بمحافظة الشرقية من خلال انتاج سماد طبيعي وامن بما يخدم الرقعة الزراعية من خلال ثلاثة مواقع مركزية تستخدم الطاقة النظيفة وخلق منصة تداول علي الانترنت للشراء والاتصال السريع </a:t>
            </a:r>
            <a:endParaRPr lang="en-US" sz="3025" b="1" dirty="0"/>
          </a:p>
        </p:txBody>
      </p:sp>
      <p:graphicFrame>
        <p:nvGraphicFramePr>
          <p:cNvPr id="17" name="Diagram 16">
            <a:extLst>
              <a:ext uri="{FF2B5EF4-FFF2-40B4-BE49-F238E27FC236}">
                <a16:creationId xmlns:a16="http://schemas.microsoft.com/office/drawing/2014/main" id="{FE51E8CC-4C8A-CC54-648E-76E551593262}"/>
              </a:ext>
            </a:extLst>
          </p:cNvPr>
          <p:cNvGraphicFramePr/>
          <p:nvPr>
            <p:extLst>
              <p:ext uri="{D42A27DB-BD31-4B8C-83A1-F6EECF244321}">
                <p14:modId xmlns:p14="http://schemas.microsoft.com/office/powerpoint/2010/main" val="468667726"/>
              </p:ext>
            </p:extLst>
          </p:nvPr>
        </p:nvGraphicFramePr>
        <p:xfrm>
          <a:off x="-125697" y="6183043"/>
          <a:ext cx="6035036" cy="34022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8" name="TextBox 17">
            <a:extLst>
              <a:ext uri="{FF2B5EF4-FFF2-40B4-BE49-F238E27FC236}">
                <a16:creationId xmlns:a16="http://schemas.microsoft.com/office/drawing/2014/main" id="{FB54D548-4C10-AAFD-F208-6D2140F4988B}"/>
              </a:ext>
            </a:extLst>
          </p:cNvPr>
          <p:cNvSpPr txBox="1"/>
          <p:nvPr/>
        </p:nvSpPr>
        <p:spPr>
          <a:xfrm>
            <a:off x="3249882" y="6308319"/>
            <a:ext cx="2244523" cy="779252"/>
          </a:xfrm>
          <a:prstGeom prst="rect">
            <a:avLst/>
          </a:prstGeom>
          <a:noFill/>
        </p:spPr>
        <p:txBody>
          <a:bodyPr wrap="square" rtlCol="0">
            <a:spAutoFit/>
          </a:bodyPr>
          <a:lstStyle/>
          <a:p>
            <a:pPr algn="ctr"/>
            <a:r>
              <a:rPr lang="ar-EG" sz="1488" b="1" dirty="0"/>
              <a:t>خلق سماد عضوي امن وبسعر رخيص وإمكانية التداول عليه من خلال الانترنت</a:t>
            </a:r>
            <a:endParaRPr lang="en-US" sz="1488" b="1" dirty="0"/>
          </a:p>
        </p:txBody>
      </p:sp>
      <p:sp>
        <p:nvSpPr>
          <p:cNvPr id="19" name="TextBox 18">
            <a:extLst>
              <a:ext uri="{FF2B5EF4-FFF2-40B4-BE49-F238E27FC236}">
                <a16:creationId xmlns:a16="http://schemas.microsoft.com/office/drawing/2014/main" id="{BB01D4D7-FE66-F92F-8FAA-0D3DC769EE98}"/>
              </a:ext>
            </a:extLst>
          </p:cNvPr>
          <p:cNvSpPr txBox="1"/>
          <p:nvPr/>
        </p:nvSpPr>
        <p:spPr>
          <a:xfrm>
            <a:off x="4518651" y="8713015"/>
            <a:ext cx="3153126" cy="779252"/>
          </a:xfrm>
          <a:prstGeom prst="rect">
            <a:avLst/>
          </a:prstGeom>
          <a:noFill/>
        </p:spPr>
        <p:txBody>
          <a:bodyPr wrap="square" rtlCol="0">
            <a:spAutoFit/>
          </a:bodyPr>
          <a:lstStyle/>
          <a:p>
            <a:pPr algn="ctr"/>
            <a:r>
              <a:rPr lang="ar-EG" sz="1488" b="1" dirty="0"/>
              <a:t>تحسين الحالة الصحية للبيئة والموارد المائية مع وجود برامج توعوية موازية تستهدفهم واشارك المرأة في الأنشطة الاقتصادية</a:t>
            </a:r>
            <a:endParaRPr lang="en-US" sz="1488" b="1" dirty="0"/>
          </a:p>
        </p:txBody>
      </p:sp>
      <p:sp>
        <p:nvSpPr>
          <p:cNvPr id="20" name="TextBox 19">
            <a:extLst>
              <a:ext uri="{FF2B5EF4-FFF2-40B4-BE49-F238E27FC236}">
                <a16:creationId xmlns:a16="http://schemas.microsoft.com/office/drawing/2014/main" id="{31E6F69D-13C5-0C78-9357-8FC761C79969}"/>
              </a:ext>
            </a:extLst>
          </p:cNvPr>
          <p:cNvSpPr txBox="1"/>
          <p:nvPr/>
        </p:nvSpPr>
        <p:spPr>
          <a:xfrm>
            <a:off x="-42201" y="8713015"/>
            <a:ext cx="1094321" cy="779252"/>
          </a:xfrm>
          <a:prstGeom prst="rect">
            <a:avLst/>
          </a:prstGeom>
          <a:noFill/>
        </p:spPr>
        <p:txBody>
          <a:bodyPr wrap="square" rtlCol="0">
            <a:spAutoFit/>
          </a:bodyPr>
          <a:lstStyle/>
          <a:p>
            <a:pPr algn="r"/>
            <a:r>
              <a:rPr lang="ar-EG" sz="1488" b="1" dirty="0"/>
              <a:t>تحسن الدخل وتأمين بيئة العمل</a:t>
            </a:r>
            <a:endParaRPr lang="en-US" sz="1488" b="1" dirty="0"/>
          </a:p>
        </p:txBody>
      </p:sp>
    </p:spTree>
    <p:extLst>
      <p:ext uri="{BB962C8B-B14F-4D97-AF65-F5344CB8AC3E}">
        <p14:creationId xmlns:p14="http://schemas.microsoft.com/office/powerpoint/2010/main" val="3643703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821325" y="2118697"/>
            <a:ext cx="13040439" cy="1643836"/>
          </a:xfrm>
          <a:prstGeom prst="rect">
            <a:avLst/>
          </a:prstGeom>
        </p:spPr>
        <p:txBody>
          <a:bodyPr vert="horz" lIns="113395" tIns="56698" rIns="113395" bIns="5669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defRPr/>
            </a:pP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أهمية إدارة الحمأة</a:t>
            </a:r>
            <a:r>
              <a:rPr lang="en-US"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 </a:t>
            </a: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 - علي المستوي القومي</a:t>
            </a:r>
            <a:endParaRPr lang="en-US"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endParaRPr>
          </a:p>
        </p:txBody>
      </p:sp>
      <p:sp>
        <p:nvSpPr>
          <p:cNvPr id="9" name="Content Placeholder 2"/>
          <p:cNvSpPr txBox="1">
            <a:spLocks/>
          </p:cNvSpPr>
          <p:nvPr/>
        </p:nvSpPr>
        <p:spPr>
          <a:xfrm>
            <a:off x="1039456" y="4048234"/>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2" name="Content Placeholder 2">
            <a:extLst>
              <a:ext uri="{FF2B5EF4-FFF2-40B4-BE49-F238E27FC236}">
                <a16:creationId xmlns:a16="http://schemas.microsoft.com/office/drawing/2014/main" id="{6DEA5683-530F-30DD-2494-79FC8A62E2AB}"/>
              </a:ext>
            </a:extLst>
          </p:cNvPr>
          <p:cNvSpPr txBox="1">
            <a:spLocks/>
          </p:cNvSpPr>
          <p:nvPr/>
        </p:nvSpPr>
        <p:spPr>
          <a:xfrm>
            <a:off x="1380421" y="3687785"/>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1133947" rtl="1">
              <a:spcBef>
                <a:spcPts val="1240"/>
              </a:spcBef>
              <a:buNone/>
              <a:defRPr/>
            </a:pPr>
            <a:endParaRPr lang="en-US" sz="3472" dirty="0">
              <a:solidFill>
                <a:sysClr val="windowText" lastClr="000000"/>
              </a:solidFill>
              <a:latin typeface="Calibri" panose="020F0502020204030204"/>
            </a:endParaRPr>
          </a:p>
        </p:txBody>
      </p:sp>
      <p:sp>
        <p:nvSpPr>
          <p:cNvPr id="16" name="Rectangle 15">
            <a:extLst>
              <a:ext uri="{FF2B5EF4-FFF2-40B4-BE49-F238E27FC236}">
                <a16:creationId xmlns:a16="http://schemas.microsoft.com/office/drawing/2014/main" id="{2ECF17B6-5FB3-2A58-DEB7-97705EACED6D}"/>
              </a:ext>
            </a:extLst>
          </p:cNvPr>
          <p:cNvSpPr/>
          <p:nvPr/>
        </p:nvSpPr>
        <p:spPr>
          <a:xfrm>
            <a:off x="15273084" y="1990316"/>
            <a:ext cx="357150" cy="535725"/>
          </a:xfrm>
          <a:prstGeom prst="rect">
            <a:avLst/>
          </a:prstGeom>
          <a:solidFill>
            <a:schemeClr val="accent1">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EG" sz="2278"/>
          </a:p>
        </p:txBody>
      </p:sp>
      <p:pic>
        <p:nvPicPr>
          <p:cNvPr id="4" name="Picture 3">
            <a:extLst>
              <a:ext uri="{FF2B5EF4-FFF2-40B4-BE49-F238E27FC236}">
                <a16:creationId xmlns:a16="http://schemas.microsoft.com/office/drawing/2014/main" id="{67D7546F-F527-FB86-CB7F-F4647D165B27}"/>
              </a:ext>
            </a:extLst>
          </p:cNvPr>
          <p:cNvPicPr>
            <a:picLocks noChangeAspect="1"/>
          </p:cNvPicPr>
          <p:nvPr/>
        </p:nvPicPr>
        <p:blipFill>
          <a:blip r:embed="rId2"/>
          <a:stretch>
            <a:fillRect/>
          </a:stretch>
        </p:blipFill>
        <p:spPr>
          <a:xfrm>
            <a:off x="3919485" y="4693038"/>
            <a:ext cx="498666" cy="401794"/>
          </a:xfrm>
          <a:prstGeom prst="rect">
            <a:avLst/>
          </a:prstGeom>
        </p:spPr>
      </p:pic>
      <p:pic>
        <p:nvPicPr>
          <p:cNvPr id="17" name="Picture 16">
            <a:extLst>
              <a:ext uri="{FF2B5EF4-FFF2-40B4-BE49-F238E27FC236}">
                <a16:creationId xmlns:a16="http://schemas.microsoft.com/office/drawing/2014/main" id="{6D3C620C-BFCF-AB8A-B708-32E7132DC640}"/>
              </a:ext>
            </a:extLst>
          </p:cNvPr>
          <p:cNvPicPr>
            <a:picLocks noChangeAspect="1"/>
          </p:cNvPicPr>
          <p:nvPr/>
        </p:nvPicPr>
        <p:blipFill>
          <a:blip r:embed="rId3"/>
          <a:stretch>
            <a:fillRect/>
          </a:stretch>
        </p:blipFill>
        <p:spPr>
          <a:xfrm>
            <a:off x="2559512" y="3057997"/>
            <a:ext cx="2232188" cy="763101"/>
          </a:xfrm>
          <a:prstGeom prst="rect">
            <a:avLst/>
          </a:prstGeom>
        </p:spPr>
      </p:pic>
      <p:sp>
        <p:nvSpPr>
          <p:cNvPr id="18" name="TextBox 17">
            <a:extLst>
              <a:ext uri="{FF2B5EF4-FFF2-40B4-BE49-F238E27FC236}">
                <a16:creationId xmlns:a16="http://schemas.microsoft.com/office/drawing/2014/main" id="{17115CB1-39BB-5D43-96AE-893232E066EF}"/>
              </a:ext>
            </a:extLst>
          </p:cNvPr>
          <p:cNvSpPr txBox="1"/>
          <p:nvPr/>
        </p:nvSpPr>
        <p:spPr>
          <a:xfrm>
            <a:off x="2380669" y="2547168"/>
            <a:ext cx="3189260" cy="626582"/>
          </a:xfrm>
          <a:prstGeom prst="rect">
            <a:avLst/>
          </a:prstGeom>
          <a:noFill/>
        </p:spPr>
        <p:txBody>
          <a:bodyPr wrap="square" rtlCol="0">
            <a:spAutoFit/>
          </a:bodyPr>
          <a:lstStyle/>
          <a:p>
            <a:r>
              <a:rPr lang="en-US" sz="1736" dirty="0">
                <a:latin typeface="Century Gothic" pitchFamily="34" charset="0"/>
              </a:rPr>
              <a:t>Safely managed </a:t>
            </a:r>
          </a:p>
          <a:p>
            <a:r>
              <a:rPr lang="en-US" sz="1736" dirty="0">
                <a:latin typeface="Century Gothic" pitchFamily="34" charset="0"/>
              </a:rPr>
              <a:t>sanitation system</a:t>
            </a:r>
          </a:p>
        </p:txBody>
      </p:sp>
      <p:sp>
        <p:nvSpPr>
          <p:cNvPr id="32" name="Rectangle 31">
            <a:extLst>
              <a:ext uri="{FF2B5EF4-FFF2-40B4-BE49-F238E27FC236}">
                <a16:creationId xmlns:a16="http://schemas.microsoft.com/office/drawing/2014/main" id="{D4FF4252-26E7-A7B4-FF05-1E33DB4F01E2}"/>
              </a:ext>
            </a:extLst>
          </p:cNvPr>
          <p:cNvSpPr/>
          <p:nvPr/>
        </p:nvSpPr>
        <p:spPr>
          <a:xfrm>
            <a:off x="2495413" y="2437002"/>
            <a:ext cx="2232188" cy="133931"/>
          </a:xfrm>
          <a:prstGeom prst="rect">
            <a:avLst/>
          </a:prstGeom>
          <a:solidFill>
            <a:schemeClr val="tx2">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34" name="Isosceles Triangle 33">
            <a:extLst>
              <a:ext uri="{FF2B5EF4-FFF2-40B4-BE49-F238E27FC236}">
                <a16:creationId xmlns:a16="http://schemas.microsoft.com/office/drawing/2014/main" id="{1EB58FEA-E11F-5184-FD81-0B6A57990026}"/>
              </a:ext>
            </a:extLst>
          </p:cNvPr>
          <p:cNvSpPr/>
          <p:nvPr/>
        </p:nvSpPr>
        <p:spPr>
          <a:xfrm rot="10800000">
            <a:off x="4549255" y="2056015"/>
            <a:ext cx="358358" cy="327920"/>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35" name="TextBox 34">
            <a:extLst>
              <a:ext uri="{FF2B5EF4-FFF2-40B4-BE49-F238E27FC236}">
                <a16:creationId xmlns:a16="http://schemas.microsoft.com/office/drawing/2014/main" id="{5A86C85C-A6E3-E705-20FE-9C9D10EFDA2F}"/>
              </a:ext>
            </a:extLst>
          </p:cNvPr>
          <p:cNvSpPr txBox="1"/>
          <p:nvPr/>
        </p:nvSpPr>
        <p:spPr>
          <a:xfrm>
            <a:off x="4370659" y="1731515"/>
            <a:ext cx="1199270" cy="397673"/>
          </a:xfrm>
          <a:prstGeom prst="rect">
            <a:avLst/>
          </a:prstGeom>
          <a:noFill/>
        </p:spPr>
        <p:txBody>
          <a:bodyPr wrap="square" rtlCol="0">
            <a:spAutoFit/>
          </a:bodyPr>
          <a:lstStyle/>
          <a:p>
            <a:r>
              <a:rPr lang="en-US" sz="1984" dirty="0">
                <a:latin typeface="Century Gothic" pitchFamily="34" charset="0"/>
              </a:rPr>
              <a:t>100%</a:t>
            </a:r>
          </a:p>
        </p:txBody>
      </p:sp>
      <p:grpSp>
        <p:nvGrpSpPr>
          <p:cNvPr id="36" name="Group 35">
            <a:extLst>
              <a:ext uri="{FF2B5EF4-FFF2-40B4-BE49-F238E27FC236}">
                <a16:creationId xmlns:a16="http://schemas.microsoft.com/office/drawing/2014/main" id="{B0C66B3B-FCD6-6063-DB60-06467F46E054}"/>
              </a:ext>
            </a:extLst>
          </p:cNvPr>
          <p:cNvGrpSpPr/>
          <p:nvPr/>
        </p:nvGrpSpPr>
        <p:grpSpPr>
          <a:xfrm rot="10800000">
            <a:off x="2468413" y="4610650"/>
            <a:ext cx="2239566" cy="133931"/>
            <a:chOff x="3882608" y="3420442"/>
            <a:chExt cx="1805950" cy="108000"/>
          </a:xfrm>
        </p:grpSpPr>
        <p:sp>
          <p:nvSpPr>
            <p:cNvPr id="37" name="Rectangle 36">
              <a:extLst>
                <a:ext uri="{FF2B5EF4-FFF2-40B4-BE49-F238E27FC236}">
                  <a16:creationId xmlns:a16="http://schemas.microsoft.com/office/drawing/2014/main" id="{AD2F8E1F-AE08-E8FF-80C3-2FF1E946744A}"/>
                </a:ext>
              </a:extLst>
            </p:cNvPr>
            <p:cNvSpPr/>
            <p:nvPr/>
          </p:nvSpPr>
          <p:spPr>
            <a:xfrm>
              <a:off x="4428558" y="3420442"/>
              <a:ext cx="1260000" cy="108000"/>
            </a:xfrm>
            <a:prstGeom prst="rect">
              <a:avLst/>
            </a:prstGeom>
            <a:solidFill>
              <a:schemeClr val="tx2">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38" name="Rectangle 37">
              <a:extLst>
                <a:ext uri="{FF2B5EF4-FFF2-40B4-BE49-F238E27FC236}">
                  <a16:creationId xmlns:a16="http://schemas.microsoft.com/office/drawing/2014/main" id="{BD557CE1-4B93-AE6F-6C08-AE50F3FE5CA4}"/>
                </a:ext>
              </a:extLst>
            </p:cNvPr>
            <p:cNvSpPr/>
            <p:nvPr/>
          </p:nvSpPr>
          <p:spPr>
            <a:xfrm>
              <a:off x="3882608" y="3420442"/>
              <a:ext cx="540000" cy="108000"/>
            </a:xfrm>
            <a:prstGeom prst="rect">
              <a:avLst/>
            </a:prstGeom>
            <a:solidFill>
              <a:schemeClr val="bg1">
                <a:lumMod val="8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dirty="0"/>
            </a:p>
          </p:txBody>
        </p:sp>
      </p:grpSp>
      <p:sp>
        <p:nvSpPr>
          <p:cNvPr id="39" name="Isosceles Triangle 38">
            <a:extLst>
              <a:ext uri="{FF2B5EF4-FFF2-40B4-BE49-F238E27FC236}">
                <a16:creationId xmlns:a16="http://schemas.microsoft.com/office/drawing/2014/main" id="{999822DF-4DBC-8854-C5D0-EC476B65D6DB}"/>
              </a:ext>
            </a:extLst>
          </p:cNvPr>
          <p:cNvSpPr/>
          <p:nvPr/>
        </p:nvSpPr>
        <p:spPr>
          <a:xfrm rot="10800000">
            <a:off x="3870556" y="4238067"/>
            <a:ext cx="358358" cy="327920"/>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40" name="TextBox 39">
            <a:extLst>
              <a:ext uri="{FF2B5EF4-FFF2-40B4-BE49-F238E27FC236}">
                <a16:creationId xmlns:a16="http://schemas.microsoft.com/office/drawing/2014/main" id="{22D6DEDC-D93F-3D03-614A-FBE8D300BCE4}"/>
              </a:ext>
            </a:extLst>
          </p:cNvPr>
          <p:cNvSpPr txBox="1"/>
          <p:nvPr/>
        </p:nvSpPr>
        <p:spPr>
          <a:xfrm>
            <a:off x="3767513" y="3903101"/>
            <a:ext cx="813851" cy="397673"/>
          </a:xfrm>
          <a:prstGeom prst="rect">
            <a:avLst/>
          </a:prstGeom>
          <a:noFill/>
        </p:spPr>
        <p:txBody>
          <a:bodyPr wrap="square" rtlCol="0">
            <a:spAutoFit/>
          </a:bodyPr>
          <a:lstStyle/>
          <a:p>
            <a:r>
              <a:rPr lang="en-US" sz="1984" dirty="0">
                <a:latin typeface="Century Gothic" pitchFamily="34" charset="0"/>
              </a:rPr>
              <a:t>70%</a:t>
            </a:r>
          </a:p>
        </p:txBody>
      </p:sp>
      <p:sp>
        <p:nvSpPr>
          <p:cNvPr id="41" name="TextBox 40">
            <a:extLst>
              <a:ext uri="{FF2B5EF4-FFF2-40B4-BE49-F238E27FC236}">
                <a16:creationId xmlns:a16="http://schemas.microsoft.com/office/drawing/2014/main" id="{9F1E9A01-1C77-AA6F-DFBF-76CF248409B7}"/>
              </a:ext>
            </a:extLst>
          </p:cNvPr>
          <p:cNvSpPr txBox="1"/>
          <p:nvPr/>
        </p:nvSpPr>
        <p:spPr>
          <a:xfrm>
            <a:off x="2468413" y="4722182"/>
            <a:ext cx="3189260" cy="321306"/>
          </a:xfrm>
          <a:prstGeom prst="rect">
            <a:avLst/>
          </a:prstGeom>
          <a:noFill/>
        </p:spPr>
        <p:txBody>
          <a:bodyPr wrap="square" rtlCol="0">
            <a:spAutoFit/>
          </a:bodyPr>
          <a:lstStyle/>
          <a:p>
            <a:r>
              <a:rPr lang="en-US" sz="1488" dirty="0">
                <a:latin typeface="Century Gothic" pitchFamily="34" charset="0"/>
              </a:rPr>
              <a:t>Safely Treated</a:t>
            </a:r>
          </a:p>
        </p:txBody>
      </p:sp>
      <p:cxnSp>
        <p:nvCxnSpPr>
          <p:cNvPr id="42" name="Connector: Elbow 41">
            <a:extLst>
              <a:ext uri="{FF2B5EF4-FFF2-40B4-BE49-F238E27FC236}">
                <a16:creationId xmlns:a16="http://schemas.microsoft.com/office/drawing/2014/main" id="{CD0D4C37-E162-66EF-BE60-10015D6ECEDD}"/>
              </a:ext>
            </a:extLst>
          </p:cNvPr>
          <p:cNvCxnSpPr>
            <a:cxnSpLocks/>
          </p:cNvCxnSpPr>
          <p:nvPr/>
        </p:nvCxnSpPr>
        <p:spPr>
          <a:xfrm rot="16200000" flipH="1">
            <a:off x="5019974" y="6158958"/>
            <a:ext cx="178575" cy="98216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49D29725-A7AC-0E3F-F5E6-A2ACDD196A4C}"/>
              </a:ext>
            </a:extLst>
          </p:cNvPr>
          <p:cNvGrpSpPr/>
          <p:nvPr/>
        </p:nvGrpSpPr>
        <p:grpSpPr>
          <a:xfrm>
            <a:off x="1438924" y="6452635"/>
            <a:ext cx="1026806" cy="1026806"/>
            <a:chOff x="3852446" y="4032498"/>
            <a:chExt cx="828000" cy="828000"/>
          </a:xfrm>
        </p:grpSpPr>
        <p:pic>
          <p:nvPicPr>
            <p:cNvPr id="44" name="Picture 43">
              <a:extLst>
                <a:ext uri="{FF2B5EF4-FFF2-40B4-BE49-F238E27FC236}">
                  <a16:creationId xmlns:a16="http://schemas.microsoft.com/office/drawing/2014/main" id="{8B19D3F3-B2E7-8C31-B10B-CC8FC28AA224}"/>
                </a:ext>
              </a:extLst>
            </p:cNvPr>
            <p:cNvPicPr>
              <a:picLocks noChangeAspect="1"/>
            </p:cNvPicPr>
            <p:nvPr/>
          </p:nvPicPr>
          <p:blipFill>
            <a:blip r:embed="rId4"/>
            <a:stretch>
              <a:fillRect/>
            </a:stretch>
          </p:blipFill>
          <p:spPr>
            <a:xfrm>
              <a:off x="3888358" y="4071573"/>
              <a:ext cx="756000" cy="480583"/>
            </a:xfrm>
            <a:prstGeom prst="rect">
              <a:avLst/>
            </a:prstGeom>
          </p:spPr>
        </p:pic>
        <p:sp>
          <p:nvSpPr>
            <p:cNvPr id="45" name="Rectangle 44">
              <a:extLst>
                <a:ext uri="{FF2B5EF4-FFF2-40B4-BE49-F238E27FC236}">
                  <a16:creationId xmlns:a16="http://schemas.microsoft.com/office/drawing/2014/main" id="{0DCE77A8-0B36-495F-FEB4-CF5B85CA2EB5}"/>
                </a:ext>
              </a:extLst>
            </p:cNvPr>
            <p:cNvSpPr/>
            <p:nvPr/>
          </p:nvSpPr>
          <p:spPr>
            <a:xfrm>
              <a:off x="3852446" y="4032498"/>
              <a:ext cx="828000" cy="828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grpSp>
      <p:sp>
        <p:nvSpPr>
          <p:cNvPr id="46" name="TextBox 45">
            <a:extLst>
              <a:ext uri="{FF2B5EF4-FFF2-40B4-BE49-F238E27FC236}">
                <a16:creationId xmlns:a16="http://schemas.microsoft.com/office/drawing/2014/main" id="{F8B5E01E-4C77-7C31-6E6E-090EC2701492}"/>
              </a:ext>
            </a:extLst>
          </p:cNvPr>
          <p:cNvSpPr txBox="1"/>
          <p:nvPr/>
        </p:nvSpPr>
        <p:spPr>
          <a:xfrm>
            <a:off x="1349626" y="7036876"/>
            <a:ext cx="1205401" cy="435760"/>
          </a:xfrm>
          <a:prstGeom prst="rect">
            <a:avLst/>
          </a:prstGeom>
          <a:noFill/>
        </p:spPr>
        <p:txBody>
          <a:bodyPr wrap="square" rtlCol="0">
            <a:spAutoFit/>
          </a:bodyPr>
          <a:lstStyle/>
          <a:p>
            <a:pPr algn="ctr"/>
            <a:r>
              <a:rPr lang="en-US" sz="1116" dirty="0">
                <a:latin typeface="Century Gothic" panose="020B0502020202020204" pitchFamily="34" charset="0"/>
              </a:rPr>
              <a:t>Wastewater treatment</a:t>
            </a:r>
            <a:endParaRPr lang="en-GB" sz="1116" dirty="0">
              <a:latin typeface="Century Gothic" panose="020B0502020202020204" pitchFamily="34" charset="0"/>
            </a:endParaRPr>
          </a:p>
        </p:txBody>
      </p:sp>
      <p:grpSp>
        <p:nvGrpSpPr>
          <p:cNvPr id="47" name="Group 46">
            <a:extLst>
              <a:ext uri="{FF2B5EF4-FFF2-40B4-BE49-F238E27FC236}">
                <a16:creationId xmlns:a16="http://schemas.microsoft.com/office/drawing/2014/main" id="{CF7798E1-FC1C-5EEB-0DFE-DF93AF275717}"/>
              </a:ext>
            </a:extLst>
          </p:cNvPr>
          <p:cNvGrpSpPr/>
          <p:nvPr/>
        </p:nvGrpSpPr>
        <p:grpSpPr>
          <a:xfrm rot="10800000">
            <a:off x="2523049" y="6442409"/>
            <a:ext cx="2232188" cy="133931"/>
            <a:chOff x="3882608" y="3420442"/>
            <a:chExt cx="1800000" cy="108000"/>
          </a:xfrm>
        </p:grpSpPr>
        <p:sp>
          <p:nvSpPr>
            <p:cNvPr id="48" name="Rectangle 47">
              <a:extLst>
                <a:ext uri="{FF2B5EF4-FFF2-40B4-BE49-F238E27FC236}">
                  <a16:creationId xmlns:a16="http://schemas.microsoft.com/office/drawing/2014/main" id="{22B878AC-7866-0C43-8451-D2D7008DDED9}"/>
                </a:ext>
              </a:extLst>
            </p:cNvPr>
            <p:cNvSpPr/>
            <p:nvPr/>
          </p:nvSpPr>
          <p:spPr>
            <a:xfrm>
              <a:off x="4062608" y="3420442"/>
              <a:ext cx="1620000" cy="108000"/>
            </a:xfrm>
            <a:prstGeom prst="rect">
              <a:avLst/>
            </a:prstGeom>
            <a:solidFill>
              <a:schemeClr val="tx2">
                <a:lumMod val="40000"/>
                <a:lumOff val="6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49" name="Rectangle 48">
              <a:extLst>
                <a:ext uri="{FF2B5EF4-FFF2-40B4-BE49-F238E27FC236}">
                  <a16:creationId xmlns:a16="http://schemas.microsoft.com/office/drawing/2014/main" id="{078F4482-E7C6-B9C7-E61A-C961EDB410BE}"/>
                </a:ext>
              </a:extLst>
            </p:cNvPr>
            <p:cNvSpPr/>
            <p:nvPr/>
          </p:nvSpPr>
          <p:spPr>
            <a:xfrm>
              <a:off x="3882608" y="3420442"/>
              <a:ext cx="180000" cy="108000"/>
            </a:xfrm>
            <a:prstGeom prst="rect">
              <a:avLst/>
            </a:prstGeom>
            <a:solidFill>
              <a:schemeClr val="bg1">
                <a:lumMod val="8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dirty="0"/>
            </a:p>
          </p:txBody>
        </p:sp>
      </p:grpSp>
      <p:sp>
        <p:nvSpPr>
          <p:cNvPr id="50" name="Isosceles Triangle 49">
            <a:extLst>
              <a:ext uri="{FF2B5EF4-FFF2-40B4-BE49-F238E27FC236}">
                <a16:creationId xmlns:a16="http://schemas.microsoft.com/office/drawing/2014/main" id="{758481A7-F390-98A5-47C6-8E4058F09C37}"/>
              </a:ext>
            </a:extLst>
          </p:cNvPr>
          <p:cNvSpPr/>
          <p:nvPr/>
        </p:nvSpPr>
        <p:spPr>
          <a:xfrm rot="10800000">
            <a:off x="4365469" y="6069827"/>
            <a:ext cx="358358" cy="327920"/>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51" name="TextBox 50">
            <a:extLst>
              <a:ext uri="{FF2B5EF4-FFF2-40B4-BE49-F238E27FC236}">
                <a16:creationId xmlns:a16="http://schemas.microsoft.com/office/drawing/2014/main" id="{0D969327-27FB-ADAA-6998-4F08A484C40C}"/>
              </a:ext>
            </a:extLst>
          </p:cNvPr>
          <p:cNvSpPr txBox="1"/>
          <p:nvPr/>
        </p:nvSpPr>
        <p:spPr>
          <a:xfrm>
            <a:off x="4225820" y="5737018"/>
            <a:ext cx="755471" cy="397673"/>
          </a:xfrm>
          <a:prstGeom prst="rect">
            <a:avLst/>
          </a:prstGeom>
          <a:noFill/>
        </p:spPr>
        <p:txBody>
          <a:bodyPr wrap="square" rtlCol="0">
            <a:spAutoFit/>
          </a:bodyPr>
          <a:lstStyle/>
          <a:p>
            <a:r>
              <a:rPr lang="en-US" sz="1984" dirty="0">
                <a:latin typeface="Century Gothic" pitchFamily="34" charset="0"/>
              </a:rPr>
              <a:t>90%</a:t>
            </a:r>
          </a:p>
        </p:txBody>
      </p:sp>
      <p:cxnSp>
        <p:nvCxnSpPr>
          <p:cNvPr id="52" name="Connector: Elbow 51">
            <a:extLst>
              <a:ext uri="{FF2B5EF4-FFF2-40B4-BE49-F238E27FC236}">
                <a16:creationId xmlns:a16="http://schemas.microsoft.com/office/drawing/2014/main" id="{14FAF839-AC36-8848-EE99-EBA6018CAD65}"/>
              </a:ext>
            </a:extLst>
          </p:cNvPr>
          <p:cNvCxnSpPr>
            <a:stCxn id="48" idx="2"/>
          </p:cNvCxnSpPr>
          <p:nvPr/>
        </p:nvCxnSpPr>
        <p:spPr>
          <a:xfrm rot="16200000" flipV="1">
            <a:off x="2920980" y="5835855"/>
            <a:ext cx="208623" cy="100448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CE85BBE-33DB-7F64-FC56-EA53635B4F12}"/>
              </a:ext>
            </a:extLst>
          </p:cNvPr>
          <p:cNvSpPr txBox="1"/>
          <p:nvPr/>
        </p:nvSpPr>
        <p:spPr>
          <a:xfrm>
            <a:off x="2400926" y="5735937"/>
            <a:ext cx="3189260" cy="550279"/>
          </a:xfrm>
          <a:prstGeom prst="rect">
            <a:avLst/>
          </a:prstGeom>
          <a:noFill/>
        </p:spPr>
        <p:txBody>
          <a:bodyPr wrap="square" rtlCol="0">
            <a:spAutoFit/>
          </a:bodyPr>
          <a:lstStyle/>
          <a:p>
            <a:r>
              <a:rPr lang="en-US" sz="1488" dirty="0">
                <a:latin typeface="Century Gothic" pitchFamily="34" charset="0"/>
              </a:rPr>
              <a:t>Secondary</a:t>
            </a:r>
          </a:p>
          <a:p>
            <a:r>
              <a:rPr lang="en-US" sz="1488" dirty="0">
                <a:latin typeface="Century Gothic" pitchFamily="34" charset="0"/>
              </a:rPr>
              <a:t>treatment</a:t>
            </a:r>
          </a:p>
        </p:txBody>
      </p:sp>
      <p:sp>
        <p:nvSpPr>
          <p:cNvPr id="54" name="TextBox 53">
            <a:extLst>
              <a:ext uri="{FF2B5EF4-FFF2-40B4-BE49-F238E27FC236}">
                <a16:creationId xmlns:a16="http://schemas.microsoft.com/office/drawing/2014/main" id="{423ABDDA-D90B-A703-9487-C5C9C1AED744}"/>
              </a:ext>
            </a:extLst>
          </p:cNvPr>
          <p:cNvSpPr txBox="1"/>
          <p:nvPr/>
        </p:nvSpPr>
        <p:spPr>
          <a:xfrm>
            <a:off x="4547711" y="6665640"/>
            <a:ext cx="1205400" cy="550279"/>
          </a:xfrm>
          <a:prstGeom prst="rect">
            <a:avLst/>
          </a:prstGeom>
          <a:noFill/>
        </p:spPr>
        <p:txBody>
          <a:bodyPr wrap="square" rtlCol="0">
            <a:spAutoFit/>
          </a:bodyPr>
          <a:lstStyle/>
          <a:p>
            <a:r>
              <a:rPr lang="en-US" sz="1488" dirty="0">
                <a:latin typeface="Century Gothic" pitchFamily="34" charset="0"/>
              </a:rPr>
              <a:t>Tertiary </a:t>
            </a:r>
          </a:p>
          <a:p>
            <a:r>
              <a:rPr lang="en-US" sz="1488" dirty="0">
                <a:latin typeface="Century Gothic" pitchFamily="34" charset="0"/>
              </a:rPr>
              <a:t>Treatment</a:t>
            </a:r>
          </a:p>
        </p:txBody>
      </p:sp>
      <p:grpSp>
        <p:nvGrpSpPr>
          <p:cNvPr id="55" name="Group 54">
            <a:extLst>
              <a:ext uri="{FF2B5EF4-FFF2-40B4-BE49-F238E27FC236}">
                <a16:creationId xmlns:a16="http://schemas.microsoft.com/office/drawing/2014/main" id="{3D2EF573-7EF7-BF2D-9D12-A3A93004868D}"/>
              </a:ext>
            </a:extLst>
          </p:cNvPr>
          <p:cNvGrpSpPr/>
          <p:nvPr/>
        </p:nvGrpSpPr>
        <p:grpSpPr>
          <a:xfrm>
            <a:off x="1417305" y="2340755"/>
            <a:ext cx="1025597" cy="1120264"/>
            <a:chOff x="1800225" y="1259361"/>
            <a:chExt cx="827025" cy="903363"/>
          </a:xfrm>
        </p:grpSpPr>
        <p:pic>
          <p:nvPicPr>
            <p:cNvPr id="56" name="Picture 55">
              <a:extLst>
                <a:ext uri="{FF2B5EF4-FFF2-40B4-BE49-F238E27FC236}">
                  <a16:creationId xmlns:a16="http://schemas.microsoft.com/office/drawing/2014/main" id="{229E00B1-E0E0-8907-3840-D4133E7BDF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4573" y="1259361"/>
              <a:ext cx="756000" cy="756000"/>
            </a:xfrm>
            <a:prstGeom prst="rect">
              <a:avLst/>
            </a:prstGeom>
          </p:spPr>
        </p:pic>
        <p:sp>
          <p:nvSpPr>
            <p:cNvPr id="57" name="Rectangle 56">
              <a:extLst>
                <a:ext uri="{FF2B5EF4-FFF2-40B4-BE49-F238E27FC236}">
                  <a16:creationId xmlns:a16="http://schemas.microsoft.com/office/drawing/2014/main" id="{ECB5E6FB-4790-A2FB-2E84-56F1A8A5EEB2}"/>
                </a:ext>
              </a:extLst>
            </p:cNvPr>
            <p:cNvSpPr/>
            <p:nvPr/>
          </p:nvSpPr>
          <p:spPr>
            <a:xfrm>
              <a:off x="1800225" y="1334724"/>
              <a:ext cx="827025" cy="828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grpSp>
      <p:grpSp>
        <p:nvGrpSpPr>
          <p:cNvPr id="58" name="Group 57">
            <a:extLst>
              <a:ext uri="{FF2B5EF4-FFF2-40B4-BE49-F238E27FC236}">
                <a16:creationId xmlns:a16="http://schemas.microsoft.com/office/drawing/2014/main" id="{88C9BD70-FC69-383A-DA20-DC66A7510127}"/>
              </a:ext>
            </a:extLst>
          </p:cNvPr>
          <p:cNvGrpSpPr/>
          <p:nvPr/>
        </p:nvGrpSpPr>
        <p:grpSpPr>
          <a:xfrm>
            <a:off x="1398312" y="4595954"/>
            <a:ext cx="1026806" cy="1116094"/>
            <a:chOff x="1758950" y="2799760"/>
            <a:chExt cx="828000" cy="900000"/>
          </a:xfrm>
        </p:grpSpPr>
        <p:pic>
          <p:nvPicPr>
            <p:cNvPr id="59" name="Picture 58">
              <a:extLst>
                <a:ext uri="{FF2B5EF4-FFF2-40B4-BE49-F238E27FC236}">
                  <a16:creationId xmlns:a16="http://schemas.microsoft.com/office/drawing/2014/main" id="{969E3AAD-B3B7-0A77-0124-14299D6FCBA6}"/>
                </a:ext>
              </a:extLst>
            </p:cNvPr>
            <p:cNvPicPr>
              <a:picLocks noChangeAspect="1"/>
            </p:cNvPicPr>
            <p:nvPr/>
          </p:nvPicPr>
          <p:blipFill>
            <a:blip r:embed="rId6"/>
            <a:stretch>
              <a:fillRect/>
            </a:stretch>
          </p:blipFill>
          <p:spPr>
            <a:xfrm>
              <a:off x="1760793" y="2799760"/>
              <a:ext cx="791999" cy="900000"/>
            </a:xfrm>
            <a:prstGeom prst="rect">
              <a:avLst/>
            </a:prstGeom>
          </p:spPr>
        </p:pic>
        <p:sp>
          <p:nvSpPr>
            <p:cNvPr id="60" name="Rectangle 59">
              <a:extLst>
                <a:ext uri="{FF2B5EF4-FFF2-40B4-BE49-F238E27FC236}">
                  <a16:creationId xmlns:a16="http://schemas.microsoft.com/office/drawing/2014/main" id="{902655DD-79CE-F545-DB1E-8FD9766CF576}"/>
                </a:ext>
              </a:extLst>
            </p:cNvPr>
            <p:cNvSpPr/>
            <p:nvPr/>
          </p:nvSpPr>
          <p:spPr>
            <a:xfrm>
              <a:off x="1758950" y="2810289"/>
              <a:ext cx="828000" cy="8280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grpSp>
      <p:sp>
        <p:nvSpPr>
          <p:cNvPr id="61" name="TextBox 60">
            <a:extLst>
              <a:ext uri="{FF2B5EF4-FFF2-40B4-BE49-F238E27FC236}">
                <a16:creationId xmlns:a16="http://schemas.microsoft.com/office/drawing/2014/main" id="{A48BBA16-EA9A-16AE-BDAA-106A09224F35}"/>
              </a:ext>
            </a:extLst>
          </p:cNvPr>
          <p:cNvSpPr txBox="1"/>
          <p:nvPr/>
        </p:nvSpPr>
        <p:spPr>
          <a:xfrm>
            <a:off x="1367599" y="3034018"/>
            <a:ext cx="1186647" cy="435760"/>
          </a:xfrm>
          <a:prstGeom prst="rect">
            <a:avLst/>
          </a:prstGeom>
          <a:noFill/>
        </p:spPr>
        <p:txBody>
          <a:bodyPr wrap="square" rtlCol="0">
            <a:spAutoFit/>
          </a:bodyPr>
          <a:lstStyle/>
          <a:p>
            <a:r>
              <a:rPr lang="en-US" sz="1116" dirty="0">
                <a:latin typeface="Century Gothic" panose="020B0502020202020204" pitchFamily="34" charset="0"/>
              </a:rPr>
              <a:t>Service provisions</a:t>
            </a:r>
            <a:endParaRPr lang="en-GB" sz="1116" dirty="0">
              <a:latin typeface="Century Gothic" panose="020B0502020202020204" pitchFamily="34" charset="0"/>
            </a:endParaRPr>
          </a:p>
        </p:txBody>
      </p:sp>
      <p:pic>
        <p:nvPicPr>
          <p:cNvPr id="62" name="Picture 61">
            <a:extLst>
              <a:ext uri="{FF2B5EF4-FFF2-40B4-BE49-F238E27FC236}">
                <a16:creationId xmlns:a16="http://schemas.microsoft.com/office/drawing/2014/main" id="{3492A65D-CBE0-21E3-09B5-15EC99E3905E}"/>
              </a:ext>
            </a:extLst>
          </p:cNvPr>
          <p:cNvPicPr>
            <a:picLocks noChangeAspect="1"/>
          </p:cNvPicPr>
          <p:nvPr/>
        </p:nvPicPr>
        <p:blipFill>
          <a:blip r:embed="rId7"/>
          <a:stretch>
            <a:fillRect/>
          </a:stretch>
        </p:blipFill>
        <p:spPr>
          <a:xfrm>
            <a:off x="6262890" y="3560908"/>
            <a:ext cx="8161482" cy="4399118"/>
          </a:xfrm>
          <a:prstGeom prst="rect">
            <a:avLst/>
          </a:prstGeom>
        </p:spPr>
      </p:pic>
      <p:cxnSp>
        <p:nvCxnSpPr>
          <p:cNvPr id="63" name="Straight Connector 62">
            <a:extLst>
              <a:ext uri="{FF2B5EF4-FFF2-40B4-BE49-F238E27FC236}">
                <a16:creationId xmlns:a16="http://schemas.microsoft.com/office/drawing/2014/main" id="{81B551FB-44F2-2D6F-ED57-7661CDA09D7A}"/>
              </a:ext>
            </a:extLst>
          </p:cNvPr>
          <p:cNvCxnSpPr/>
          <p:nvPr/>
        </p:nvCxnSpPr>
        <p:spPr>
          <a:xfrm>
            <a:off x="1187949" y="2383933"/>
            <a:ext cx="0" cy="5223319"/>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622B4CC-8769-08E8-4215-83AB617CA182}"/>
              </a:ext>
            </a:extLst>
          </p:cNvPr>
          <p:cNvSpPr txBox="1"/>
          <p:nvPr/>
        </p:nvSpPr>
        <p:spPr>
          <a:xfrm rot="16200000">
            <a:off x="-814738" y="3435644"/>
            <a:ext cx="3529456" cy="1023357"/>
          </a:xfrm>
          <a:prstGeom prst="rect">
            <a:avLst/>
          </a:prstGeom>
          <a:noFill/>
        </p:spPr>
        <p:txBody>
          <a:bodyPr wrap="square" rtlCol="0">
            <a:spAutoFit/>
          </a:bodyPr>
          <a:lstStyle/>
          <a:p>
            <a:r>
              <a:rPr lang="ar-EG" sz="3025" dirty="0">
                <a:cs typeface="Alarabiya Font" pitchFamily="2" charset="-78"/>
              </a:rPr>
              <a:t>ملامح إستراتيجية مصر 2030 </a:t>
            </a:r>
            <a:endParaRPr lang="en-GB" sz="3025" dirty="0">
              <a:cs typeface="Alarabiya Font" pitchFamily="2" charset="-78"/>
            </a:endParaRPr>
          </a:p>
        </p:txBody>
      </p:sp>
      <p:pic>
        <p:nvPicPr>
          <p:cNvPr id="65" name="Picture 64">
            <a:extLst>
              <a:ext uri="{FF2B5EF4-FFF2-40B4-BE49-F238E27FC236}">
                <a16:creationId xmlns:a16="http://schemas.microsoft.com/office/drawing/2014/main" id="{35B1DAF5-2E25-19CA-905C-E43DDCE55D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900" y="5926737"/>
            <a:ext cx="1071450" cy="1071450"/>
          </a:xfrm>
          <a:prstGeom prst="rect">
            <a:avLst/>
          </a:prstGeom>
        </p:spPr>
      </p:pic>
      <p:sp>
        <p:nvSpPr>
          <p:cNvPr id="66" name="Rectangle 65">
            <a:extLst>
              <a:ext uri="{FF2B5EF4-FFF2-40B4-BE49-F238E27FC236}">
                <a16:creationId xmlns:a16="http://schemas.microsoft.com/office/drawing/2014/main" id="{D04A349D-A32B-839E-5F36-DD0A605DC766}"/>
              </a:ext>
            </a:extLst>
          </p:cNvPr>
          <p:cNvSpPr/>
          <p:nvPr/>
        </p:nvSpPr>
        <p:spPr>
          <a:xfrm>
            <a:off x="11001302" y="9065708"/>
            <a:ext cx="4343940" cy="49108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67" name="TextBox 66">
            <a:extLst>
              <a:ext uri="{FF2B5EF4-FFF2-40B4-BE49-F238E27FC236}">
                <a16:creationId xmlns:a16="http://schemas.microsoft.com/office/drawing/2014/main" id="{48C97BA2-7FAC-4A5A-831E-3288B2787050}"/>
              </a:ext>
            </a:extLst>
          </p:cNvPr>
          <p:cNvSpPr txBox="1"/>
          <p:nvPr/>
        </p:nvSpPr>
        <p:spPr>
          <a:xfrm>
            <a:off x="12295488" y="9057833"/>
            <a:ext cx="2862438" cy="473976"/>
          </a:xfrm>
          <a:prstGeom prst="rect">
            <a:avLst/>
          </a:prstGeom>
          <a:noFill/>
          <a:ln>
            <a:noFill/>
          </a:ln>
        </p:spPr>
        <p:txBody>
          <a:bodyPr wrap="square" rtlCol="0">
            <a:spAutoFit/>
          </a:bodyPr>
          <a:lstStyle/>
          <a:p>
            <a:r>
              <a:rPr lang="ar-EG" sz="2480" b="1" dirty="0">
                <a:solidFill>
                  <a:schemeClr val="bg1">
                    <a:lumMod val="95000"/>
                  </a:schemeClr>
                </a:solidFill>
                <a:latin typeface="HSIshraq-Thin" panose="02000906030000020004" pitchFamily="50" charset="-78"/>
                <a:cs typeface="HSIshraq-Thin" panose="02000906030000020004" pitchFamily="50" charset="-78"/>
              </a:rPr>
              <a:t>مليون طن سنوياً</a:t>
            </a:r>
            <a:endParaRPr lang="en-GB" sz="2480" b="1" dirty="0">
              <a:solidFill>
                <a:schemeClr val="bg1">
                  <a:lumMod val="95000"/>
                </a:schemeClr>
              </a:solidFill>
              <a:latin typeface="HSIshraq-Thin" panose="02000906030000020004" pitchFamily="50" charset="-78"/>
              <a:cs typeface="HSIshraq-Thin" panose="02000906030000020004" pitchFamily="50" charset="-78"/>
            </a:endParaRPr>
          </a:p>
        </p:txBody>
      </p:sp>
      <p:sp>
        <p:nvSpPr>
          <p:cNvPr id="68" name="TextBox 67">
            <a:extLst>
              <a:ext uri="{FF2B5EF4-FFF2-40B4-BE49-F238E27FC236}">
                <a16:creationId xmlns:a16="http://schemas.microsoft.com/office/drawing/2014/main" id="{D5D010DD-2367-8C18-6F26-532691C8075B}"/>
              </a:ext>
            </a:extLst>
          </p:cNvPr>
          <p:cNvSpPr txBox="1"/>
          <p:nvPr/>
        </p:nvSpPr>
        <p:spPr>
          <a:xfrm>
            <a:off x="14130899" y="8860058"/>
            <a:ext cx="1676582" cy="855619"/>
          </a:xfrm>
          <a:prstGeom prst="rect">
            <a:avLst/>
          </a:prstGeom>
          <a:noFill/>
          <a:ln>
            <a:noFill/>
          </a:ln>
        </p:spPr>
        <p:txBody>
          <a:bodyPr wrap="square" rtlCol="0">
            <a:spAutoFit/>
          </a:bodyPr>
          <a:lstStyle/>
          <a:p>
            <a:r>
              <a:rPr lang="en-US" sz="4960" b="1" dirty="0">
                <a:solidFill>
                  <a:schemeClr val="bg1"/>
                </a:solidFill>
                <a:latin typeface="HSIshraq-Thin" panose="02000906030000020004" pitchFamily="50" charset="-78"/>
              </a:rPr>
              <a:t>2.1</a:t>
            </a:r>
            <a:endParaRPr lang="en-GB" sz="4960" b="1" dirty="0">
              <a:solidFill>
                <a:schemeClr val="bg1"/>
              </a:solidFill>
              <a:latin typeface="HSIshraq-Thin" panose="02000906030000020004" pitchFamily="50" charset="-78"/>
            </a:endParaRPr>
          </a:p>
        </p:txBody>
      </p:sp>
      <p:cxnSp>
        <p:nvCxnSpPr>
          <p:cNvPr id="69" name="Straight Connector 68">
            <a:extLst>
              <a:ext uri="{FF2B5EF4-FFF2-40B4-BE49-F238E27FC236}">
                <a16:creationId xmlns:a16="http://schemas.microsoft.com/office/drawing/2014/main" id="{84E85A37-97D3-3163-7391-3305E9E5077E}"/>
              </a:ext>
            </a:extLst>
          </p:cNvPr>
          <p:cNvCxnSpPr/>
          <p:nvPr/>
        </p:nvCxnSpPr>
        <p:spPr>
          <a:xfrm>
            <a:off x="11977360" y="9065708"/>
            <a:ext cx="0" cy="49108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2F552D4-B071-65CD-9693-E8BCB7170010}"/>
              </a:ext>
            </a:extLst>
          </p:cNvPr>
          <p:cNvCxnSpPr/>
          <p:nvPr/>
        </p:nvCxnSpPr>
        <p:spPr>
          <a:xfrm>
            <a:off x="11867115" y="9065708"/>
            <a:ext cx="0" cy="4910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1B2C47A-9A07-5E04-4691-83489AE2DE9D}"/>
              </a:ext>
            </a:extLst>
          </p:cNvPr>
          <p:cNvCxnSpPr/>
          <p:nvPr/>
        </p:nvCxnSpPr>
        <p:spPr>
          <a:xfrm>
            <a:off x="11772619" y="9065708"/>
            <a:ext cx="0" cy="4910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9FB58D1-1F89-3CDA-8EBF-0495B01012BF}"/>
              </a:ext>
            </a:extLst>
          </p:cNvPr>
          <p:cNvCxnSpPr/>
          <p:nvPr/>
        </p:nvCxnSpPr>
        <p:spPr>
          <a:xfrm>
            <a:off x="11670248" y="9065708"/>
            <a:ext cx="0" cy="49108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7C78198-6A69-51FA-1B12-A03850147061}"/>
              </a:ext>
            </a:extLst>
          </p:cNvPr>
          <p:cNvCxnSpPr/>
          <p:nvPr/>
        </p:nvCxnSpPr>
        <p:spPr>
          <a:xfrm>
            <a:off x="11481256" y="9073582"/>
            <a:ext cx="0" cy="49108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3D97432-EA55-09C6-3659-0F3AC8023252}"/>
              </a:ext>
            </a:extLst>
          </p:cNvPr>
          <p:cNvCxnSpPr/>
          <p:nvPr/>
        </p:nvCxnSpPr>
        <p:spPr>
          <a:xfrm>
            <a:off x="11567878" y="9065708"/>
            <a:ext cx="0" cy="49108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75" name="Picture 15" descr="Related image">
            <a:extLst>
              <a:ext uri="{FF2B5EF4-FFF2-40B4-BE49-F238E27FC236}">
                <a16:creationId xmlns:a16="http://schemas.microsoft.com/office/drawing/2014/main" id="{D460CDAE-5190-C7FA-40D7-BE9F456D1141}"/>
              </a:ext>
            </a:extLst>
          </p:cNvPr>
          <p:cNvPicPr>
            <a:picLocks noChangeAspect="1" noChangeArrowheads="1"/>
          </p:cNvPicPr>
          <p:nvPr/>
        </p:nvPicPr>
        <p:blipFill rotWithShape="1">
          <a:blip r:embed="rId9"/>
          <a:srcRect b="8265"/>
          <a:stretch/>
        </p:blipFill>
        <p:spPr bwMode="auto">
          <a:xfrm>
            <a:off x="1365621" y="7984938"/>
            <a:ext cx="2611659" cy="1597198"/>
          </a:xfrm>
          <a:prstGeom prst="rect">
            <a:avLst/>
          </a:prstGeom>
          <a:noFill/>
        </p:spPr>
      </p:pic>
      <p:pic>
        <p:nvPicPr>
          <p:cNvPr id="76" name="Picture 2">
            <a:extLst>
              <a:ext uri="{FF2B5EF4-FFF2-40B4-BE49-F238E27FC236}">
                <a16:creationId xmlns:a16="http://schemas.microsoft.com/office/drawing/2014/main" id="{3710897A-39C7-4039-2E62-D71EC6AA94D7}"/>
              </a:ext>
            </a:extLst>
          </p:cNvPr>
          <p:cNvPicPr>
            <a:picLocks noChangeAspect="1" noChangeArrowheads="1"/>
          </p:cNvPicPr>
          <p:nvPr/>
        </p:nvPicPr>
        <p:blipFill>
          <a:blip r:embed="rId10" cstate="print"/>
          <a:srcRect/>
          <a:stretch>
            <a:fillRect/>
          </a:stretch>
        </p:blipFill>
        <p:spPr bwMode="auto">
          <a:xfrm>
            <a:off x="364073" y="8105033"/>
            <a:ext cx="985553" cy="1339313"/>
          </a:xfrm>
          <a:prstGeom prst="rect">
            <a:avLst/>
          </a:prstGeom>
          <a:noFill/>
          <a:ln w="9525">
            <a:noFill/>
            <a:miter lim="800000"/>
            <a:headEnd/>
            <a:tailEnd/>
          </a:ln>
          <a:effectLst/>
        </p:spPr>
      </p:pic>
      <p:pic>
        <p:nvPicPr>
          <p:cNvPr id="77" name="Picture 6" descr="Related image">
            <a:extLst>
              <a:ext uri="{FF2B5EF4-FFF2-40B4-BE49-F238E27FC236}">
                <a16:creationId xmlns:a16="http://schemas.microsoft.com/office/drawing/2014/main" id="{2B7E7A52-25A9-3174-BDF0-8FF9170C9BFA}"/>
              </a:ext>
            </a:extLst>
          </p:cNvPr>
          <p:cNvPicPr>
            <a:picLocks noChangeAspect="1" noChangeArrowheads="1"/>
          </p:cNvPicPr>
          <p:nvPr/>
        </p:nvPicPr>
        <p:blipFill>
          <a:blip r:embed="rId11" cstate="print"/>
          <a:srcRect/>
          <a:stretch>
            <a:fillRect/>
          </a:stretch>
        </p:blipFill>
        <p:spPr bwMode="auto">
          <a:xfrm>
            <a:off x="4028284" y="8557722"/>
            <a:ext cx="2271476" cy="950102"/>
          </a:xfrm>
          <a:prstGeom prst="rect">
            <a:avLst/>
          </a:prstGeom>
          <a:noFill/>
        </p:spPr>
      </p:pic>
      <p:pic>
        <p:nvPicPr>
          <p:cNvPr id="78" name="Picture 77">
            <a:extLst>
              <a:ext uri="{FF2B5EF4-FFF2-40B4-BE49-F238E27FC236}">
                <a16:creationId xmlns:a16="http://schemas.microsoft.com/office/drawing/2014/main" id="{A837EE86-ECE4-6D01-D805-48328D5C62A6}"/>
              </a:ext>
            </a:extLst>
          </p:cNvPr>
          <p:cNvPicPr>
            <a:picLocks noChangeAspect="1"/>
          </p:cNvPicPr>
          <p:nvPr/>
        </p:nvPicPr>
        <p:blipFill>
          <a:blip r:embed="rId12"/>
          <a:stretch>
            <a:fillRect/>
          </a:stretch>
        </p:blipFill>
        <p:spPr>
          <a:xfrm>
            <a:off x="6482055" y="8461716"/>
            <a:ext cx="1575556" cy="1127764"/>
          </a:xfrm>
          <a:prstGeom prst="rect">
            <a:avLst/>
          </a:prstGeom>
        </p:spPr>
      </p:pic>
      <p:pic>
        <p:nvPicPr>
          <p:cNvPr id="79" name="Picture 78">
            <a:extLst>
              <a:ext uri="{FF2B5EF4-FFF2-40B4-BE49-F238E27FC236}">
                <a16:creationId xmlns:a16="http://schemas.microsoft.com/office/drawing/2014/main" id="{4EF3331F-D321-4B17-833B-A8AA6A082E60}"/>
              </a:ext>
            </a:extLst>
          </p:cNvPr>
          <p:cNvPicPr>
            <a:picLocks noChangeAspect="1"/>
          </p:cNvPicPr>
          <p:nvPr/>
        </p:nvPicPr>
        <p:blipFill>
          <a:blip r:embed="rId13"/>
          <a:stretch>
            <a:fillRect/>
          </a:stretch>
        </p:blipFill>
        <p:spPr>
          <a:xfrm>
            <a:off x="8057611" y="8489547"/>
            <a:ext cx="572356" cy="1111521"/>
          </a:xfrm>
          <a:prstGeom prst="rect">
            <a:avLst/>
          </a:prstGeom>
        </p:spPr>
      </p:pic>
      <p:sp>
        <p:nvSpPr>
          <p:cNvPr id="80" name="Rectangle 79">
            <a:extLst>
              <a:ext uri="{FF2B5EF4-FFF2-40B4-BE49-F238E27FC236}">
                <a16:creationId xmlns:a16="http://schemas.microsoft.com/office/drawing/2014/main" id="{0491EA84-3286-BDA4-B500-030BF4B29E04}"/>
              </a:ext>
            </a:extLst>
          </p:cNvPr>
          <p:cNvSpPr/>
          <p:nvPr/>
        </p:nvSpPr>
        <p:spPr>
          <a:xfrm>
            <a:off x="0" y="7782349"/>
            <a:ext cx="9687684" cy="142860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25"/>
          </a:p>
        </p:txBody>
      </p:sp>
      <p:sp>
        <p:nvSpPr>
          <p:cNvPr id="81" name="TextBox 80">
            <a:extLst>
              <a:ext uri="{FF2B5EF4-FFF2-40B4-BE49-F238E27FC236}">
                <a16:creationId xmlns:a16="http://schemas.microsoft.com/office/drawing/2014/main" id="{23CB58BF-D29B-7F4D-483E-E4EB885EE8C9}"/>
              </a:ext>
            </a:extLst>
          </p:cNvPr>
          <p:cNvSpPr txBox="1"/>
          <p:nvPr/>
        </p:nvSpPr>
        <p:spPr>
          <a:xfrm>
            <a:off x="1322628" y="5592435"/>
            <a:ext cx="1205401" cy="264047"/>
          </a:xfrm>
          <a:prstGeom prst="rect">
            <a:avLst/>
          </a:prstGeom>
          <a:noFill/>
        </p:spPr>
        <p:txBody>
          <a:bodyPr wrap="square" rtlCol="0">
            <a:spAutoFit/>
          </a:bodyPr>
          <a:lstStyle/>
          <a:p>
            <a:pPr algn="ctr"/>
            <a:r>
              <a:rPr lang="en-US" sz="1116" dirty="0">
                <a:latin typeface="Century Gothic" panose="020B0502020202020204" pitchFamily="34" charset="0"/>
              </a:rPr>
              <a:t>Indirect use</a:t>
            </a:r>
            <a:endParaRPr lang="en-GB" sz="1116" dirty="0">
              <a:latin typeface="Century Gothic" panose="020B0502020202020204" pitchFamily="34" charset="0"/>
            </a:endParaRPr>
          </a:p>
        </p:txBody>
      </p:sp>
    </p:spTree>
    <p:extLst>
      <p:ext uri="{BB962C8B-B14F-4D97-AF65-F5344CB8AC3E}">
        <p14:creationId xmlns:p14="http://schemas.microsoft.com/office/powerpoint/2010/main" val="1289972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039455" y="2237062"/>
            <a:ext cx="14079895" cy="1643836"/>
          </a:xfrm>
          <a:prstGeom prst="rect">
            <a:avLst/>
          </a:prstGeom>
        </p:spPr>
        <p:txBody>
          <a:bodyPr vert="horz" lIns="113395" tIns="56698" rIns="113395" bIns="5669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defRPr/>
            </a:pP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محددات المشروع والاطار العام </a:t>
            </a:r>
            <a:endParaRPr lang="en-US"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endParaRPr>
          </a:p>
        </p:txBody>
      </p:sp>
      <p:sp>
        <p:nvSpPr>
          <p:cNvPr id="9" name="Content Placeholder 2"/>
          <p:cNvSpPr txBox="1">
            <a:spLocks/>
          </p:cNvSpPr>
          <p:nvPr/>
        </p:nvSpPr>
        <p:spPr>
          <a:xfrm>
            <a:off x="1039456" y="4048234"/>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2" name="Content Placeholder 2">
            <a:extLst>
              <a:ext uri="{FF2B5EF4-FFF2-40B4-BE49-F238E27FC236}">
                <a16:creationId xmlns:a16="http://schemas.microsoft.com/office/drawing/2014/main" id="{6DEA5683-530F-30DD-2494-79FC8A62E2AB}"/>
              </a:ext>
            </a:extLst>
          </p:cNvPr>
          <p:cNvSpPr txBox="1">
            <a:spLocks/>
          </p:cNvSpPr>
          <p:nvPr/>
        </p:nvSpPr>
        <p:spPr>
          <a:xfrm>
            <a:off x="1380421" y="3687785"/>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14" name="TextBox 13">
            <a:extLst>
              <a:ext uri="{FF2B5EF4-FFF2-40B4-BE49-F238E27FC236}">
                <a16:creationId xmlns:a16="http://schemas.microsoft.com/office/drawing/2014/main" id="{8FB33CEE-2802-2FBA-1CF9-67FCA4EE7197}"/>
              </a:ext>
            </a:extLst>
          </p:cNvPr>
          <p:cNvSpPr txBox="1"/>
          <p:nvPr/>
        </p:nvSpPr>
        <p:spPr>
          <a:xfrm>
            <a:off x="5870352" y="8518162"/>
            <a:ext cx="3406332" cy="557845"/>
          </a:xfrm>
          <a:prstGeom prst="rect">
            <a:avLst/>
          </a:prstGeom>
          <a:noFill/>
        </p:spPr>
        <p:txBody>
          <a:bodyPr wrap="square" rtlCol="0">
            <a:spAutoFit/>
          </a:bodyPr>
          <a:lstStyle/>
          <a:p>
            <a:endParaRPr lang="en-US" sz="3025" dirty="0"/>
          </a:p>
        </p:txBody>
      </p:sp>
      <p:sp>
        <p:nvSpPr>
          <p:cNvPr id="15" name="Rectangle 10">
            <a:extLst>
              <a:ext uri="{FF2B5EF4-FFF2-40B4-BE49-F238E27FC236}">
                <a16:creationId xmlns:a16="http://schemas.microsoft.com/office/drawing/2014/main" id="{1DA82508-D5C6-FBE3-6474-96BEC17E703C}"/>
              </a:ext>
            </a:extLst>
          </p:cNvPr>
          <p:cNvSpPr>
            <a:spLocks noChangeArrowheads="1"/>
          </p:cNvSpPr>
          <p:nvPr/>
        </p:nvSpPr>
        <p:spPr bwMode="auto">
          <a:xfrm>
            <a:off x="4716754" y="5471689"/>
            <a:ext cx="6964551" cy="58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3395" tIns="56698" rIns="113395" bIns="56698" numCol="1" anchor="ctr" anchorCtr="0" compatLnSpc="1">
            <a:prstTxWarp prst="textNoShape">
              <a:avLst/>
            </a:prstTxWarp>
            <a:spAutoFit/>
          </a:bodyPr>
          <a:lstStyle/>
          <a:p>
            <a:endParaRPr lang="en-US" sz="3025"/>
          </a:p>
        </p:txBody>
      </p:sp>
      <p:sp>
        <p:nvSpPr>
          <p:cNvPr id="17" name="Rectangle 12">
            <a:extLst>
              <a:ext uri="{FF2B5EF4-FFF2-40B4-BE49-F238E27FC236}">
                <a16:creationId xmlns:a16="http://schemas.microsoft.com/office/drawing/2014/main" id="{8B7D7FCA-C377-3A70-8481-A90B2A6CE900}"/>
              </a:ext>
            </a:extLst>
          </p:cNvPr>
          <p:cNvSpPr>
            <a:spLocks noChangeArrowheads="1"/>
          </p:cNvSpPr>
          <p:nvPr/>
        </p:nvSpPr>
        <p:spPr bwMode="auto">
          <a:xfrm>
            <a:off x="6896573" y="4195671"/>
            <a:ext cx="8269320" cy="763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3395" tIns="56698" rIns="113395" bIns="56698" numCol="1" anchor="ctr" anchorCtr="0" compatLnSpc="1">
            <a:prstTxWarp prst="textNoShape">
              <a:avLst/>
            </a:prstTxWarp>
            <a:spAutoFit/>
          </a:bodyPr>
          <a:lstStyle/>
          <a:p>
            <a:pPr marL="354359" indent="-354359" algn="justLow" defTabSz="1133947" rtl="1" eaLnBrk="0" fontAlgn="base" hangingPunct="0">
              <a:spcBef>
                <a:spcPct val="0"/>
              </a:spcBef>
              <a:spcAft>
                <a:spcPct val="0"/>
              </a:spcAft>
              <a:buFont typeface="Arial" panose="020B0604020202020204" pitchFamily="34" charset="0"/>
              <a:buChar char="•"/>
            </a:pPr>
            <a:r>
              <a:rPr lang="ar-SA" altLang="en-US" sz="2108" dirty="0">
                <a:latin typeface="Calibri" panose="020F0502020204030204" pitchFamily="34" charset="0"/>
                <a:ea typeface="Calibri" panose="020F0502020204030204" pitchFamily="34" charset="0"/>
                <a:cs typeface="Calibri" panose="020F0502020204030204" pitchFamily="34" charset="0"/>
              </a:rPr>
              <a:t>يلزم التعامل مع</a:t>
            </a:r>
            <a:r>
              <a:rPr lang="ar-EG" altLang="en-US" sz="2108" dirty="0">
                <a:latin typeface="Calibri" panose="020F0502020204030204" pitchFamily="34" charset="0"/>
                <a:ea typeface="Calibri" panose="020F0502020204030204" pitchFamily="34" charset="0"/>
                <a:cs typeface="Calibri" panose="020F0502020204030204" pitchFamily="34" charset="0"/>
              </a:rPr>
              <a:t> الحمأة</a:t>
            </a:r>
            <a:r>
              <a:rPr lang="ar-SA" altLang="en-US" sz="2108" dirty="0">
                <a:latin typeface="Calibri" panose="020F0502020204030204" pitchFamily="34" charset="0"/>
                <a:ea typeface="Calibri" panose="020F0502020204030204" pitchFamily="34" charset="0"/>
                <a:cs typeface="Calibri" panose="020F0502020204030204" pitchFamily="34" charset="0"/>
              </a:rPr>
              <a:t> في اطار تكاملي لضمان خفض المخاطر الصحية والبيئة منها ودعما لاستدامة الاستثمارات المنفقة في انشاء محطات المعالجة بل وتعظيم الاستفادة منها</a:t>
            </a:r>
            <a:r>
              <a:rPr lang="en-US" altLang="en-US" sz="2108" dirty="0">
                <a:latin typeface="Calibri" panose="020F0502020204030204" pitchFamily="34" charset="0"/>
                <a:ea typeface="Calibri" panose="020F0502020204030204" pitchFamily="34" charset="0"/>
                <a:cs typeface="Calibri" panose="020F0502020204030204" pitchFamily="34" charset="0"/>
              </a:rPr>
              <a:t>.</a:t>
            </a:r>
            <a:endParaRPr lang="en-US" altLang="en-US" sz="2232" dirty="0">
              <a:latin typeface="Arial" panose="020B060402020202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934D2241-6D4B-726A-DBDE-9897B472AE22}"/>
              </a:ext>
            </a:extLst>
          </p:cNvPr>
          <p:cNvGraphicFramePr/>
          <p:nvPr>
            <p:extLst>
              <p:ext uri="{D42A27DB-BD31-4B8C-83A1-F6EECF244321}">
                <p14:modId xmlns:p14="http://schemas.microsoft.com/office/powerpoint/2010/main" val="827451956"/>
              </p:ext>
            </p:extLst>
          </p:nvPr>
        </p:nvGraphicFramePr>
        <p:xfrm>
          <a:off x="-313710" y="2300092"/>
          <a:ext cx="7171973" cy="36696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12">
            <a:extLst>
              <a:ext uri="{FF2B5EF4-FFF2-40B4-BE49-F238E27FC236}">
                <a16:creationId xmlns:a16="http://schemas.microsoft.com/office/drawing/2014/main" id="{4FBC2EEF-FDB9-C8F1-CDEE-1C2DC92BD771}"/>
              </a:ext>
            </a:extLst>
          </p:cNvPr>
          <p:cNvSpPr>
            <a:spLocks noChangeArrowheads="1"/>
          </p:cNvSpPr>
          <p:nvPr/>
        </p:nvSpPr>
        <p:spPr bwMode="auto">
          <a:xfrm>
            <a:off x="6595649" y="3483695"/>
            <a:ext cx="8430618" cy="1221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3395" tIns="56698" rIns="113395" bIns="56698" numCol="1" anchor="ctr" anchorCtr="0" compatLnSpc="1">
            <a:prstTxWarp prst="textNoShape">
              <a:avLst/>
            </a:prstTxWarp>
            <a:spAutoFit/>
          </a:bodyPr>
          <a:lstStyle/>
          <a:p>
            <a:pPr marL="354359" indent="-354359" algn="justLow" defTabSz="1133947" rtl="1" eaLnBrk="0" fontAlgn="base" hangingPunct="0">
              <a:spcBef>
                <a:spcPct val="0"/>
              </a:spcBef>
              <a:spcAft>
                <a:spcPct val="0"/>
              </a:spcAft>
              <a:buFont typeface="Arial" panose="020B0604020202020204" pitchFamily="34" charset="0"/>
              <a:buChar char="•"/>
            </a:pPr>
            <a:r>
              <a:rPr lang="ar-SA" sz="2108" dirty="0">
                <a:latin typeface="Calibri" panose="020F0502020204030204" pitchFamily="34" charset="0"/>
                <a:cs typeface="Calibri" panose="020F0502020204030204" pitchFamily="34" charset="0"/>
              </a:rPr>
              <a:t>تبلغ كمية الحمأة الجافة المنتجة من محطات معالجة الصرف الصحي على مستوي محافظة </a:t>
            </a:r>
            <a:r>
              <a:rPr lang="ar-EG" sz="2108" dirty="0">
                <a:latin typeface="Calibri" panose="020F0502020204030204" pitchFamily="34" charset="0"/>
                <a:cs typeface="Calibri" panose="020F0502020204030204" pitchFamily="34" charset="0"/>
              </a:rPr>
              <a:t>الشرقية </a:t>
            </a:r>
            <a:r>
              <a:rPr lang="ar-SA" sz="2108" dirty="0">
                <a:latin typeface="Calibri" panose="020F0502020204030204" pitchFamily="34" charset="0"/>
                <a:cs typeface="Calibri" panose="020F0502020204030204" pitchFamily="34" charset="0"/>
              </a:rPr>
              <a:t>حوالي </a:t>
            </a:r>
            <a:r>
              <a:rPr lang="ar-SA" sz="2108" dirty="0">
                <a:solidFill>
                  <a:srgbClr val="FF0000"/>
                </a:solidFill>
                <a:latin typeface="Calibri" panose="020F0502020204030204" pitchFamily="34" charset="0"/>
                <a:cs typeface="Calibri" panose="020F0502020204030204" pitchFamily="34" charset="0"/>
              </a:rPr>
              <a:t>80</a:t>
            </a:r>
            <a:r>
              <a:rPr lang="ar-SA" sz="2108" dirty="0">
                <a:latin typeface="Calibri" panose="020F0502020204030204" pitchFamily="34" charset="0"/>
                <a:cs typeface="Calibri" panose="020F0502020204030204" pitchFamily="34" charset="0"/>
              </a:rPr>
              <a:t> ألف م3/سنة وهي تمثل مشكلة بيئية وصحية كبيرة</a:t>
            </a:r>
            <a:endParaRPr lang="ar-EG" sz="2108" dirty="0">
              <a:latin typeface="Calibri" panose="020F0502020204030204" pitchFamily="34" charset="0"/>
              <a:cs typeface="Calibri" panose="020F0502020204030204" pitchFamily="34" charset="0"/>
            </a:endParaRPr>
          </a:p>
          <a:p>
            <a:pPr algn="justLow" defTabSz="1133947" rtl="1" eaLnBrk="0" fontAlgn="base" hangingPunct="0">
              <a:spcBef>
                <a:spcPct val="0"/>
              </a:spcBef>
              <a:spcAft>
                <a:spcPct val="0"/>
              </a:spcAft>
            </a:pPr>
            <a:endParaRPr lang="en-US" altLang="en-US" sz="2976" b="1" dirty="0">
              <a:cs typeface="Akhbar MT" pitchFamily="2" charset="-78"/>
            </a:endParaRPr>
          </a:p>
        </p:txBody>
      </p:sp>
      <p:graphicFrame>
        <p:nvGraphicFramePr>
          <p:cNvPr id="4" name="Chart 3">
            <a:extLst>
              <a:ext uri="{FF2B5EF4-FFF2-40B4-BE49-F238E27FC236}">
                <a16:creationId xmlns:a16="http://schemas.microsoft.com/office/drawing/2014/main" id="{E11DE363-2939-9F02-04B1-E828B8C32E5F}"/>
              </a:ext>
            </a:extLst>
          </p:cNvPr>
          <p:cNvGraphicFramePr/>
          <p:nvPr>
            <p:extLst>
              <p:ext uri="{D42A27DB-BD31-4B8C-83A1-F6EECF244321}">
                <p14:modId xmlns:p14="http://schemas.microsoft.com/office/powerpoint/2010/main" val="4222164436"/>
              </p:ext>
            </p:extLst>
          </p:nvPr>
        </p:nvGraphicFramePr>
        <p:xfrm>
          <a:off x="1679917" y="5717071"/>
          <a:ext cx="4937966" cy="3669610"/>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Box 5">
            <a:extLst>
              <a:ext uri="{FF2B5EF4-FFF2-40B4-BE49-F238E27FC236}">
                <a16:creationId xmlns:a16="http://schemas.microsoft.com/office/drawing/2014/main" id="{19F7E4E5-6039-1466-72AC-0E56901838B8}"/>
              </a:ext>
            </a:extLst>
          </p:cNvPr>
          <p:cNvSpPr txBox="1"/>
          <p:nvPr/>
        </p:nvSpPr>
        <p:spPr>
          <a:xfrm>
            <a:off x="243871" y="7551877"/>
            <a:ext cx="1813154" cy="1313693"/>
          </a:xfrm>
          <a:prstGeom prst="rect">
            <a:avLst/>
          </a:prstGeom>
          <a:noFill/>
        </p:spPr>
        <p:txBody>
          <a:bodyPr wrap="square" rtlCol="0">
            <a:spAutoFit/>
          </a:bodyPr>
          <a:lstStyle/>
          <a:p>
            <a:pPr algn="ctr"/>
            <a:r>
              <a:rPr lang="ar-EG" altLang="en-US" sz="1984" b="1" dirty="0">
                <a:solidFill>
                  <a:srgbClr val="FF0000"/>
                </a:solidFill>
                <a:cs typeface="Akhbar MT" pitchFamily="2" charset="-78"/>
              </a:rPr>
              <a:t>تبلغ كمية الحمأة المجمعة من مركز الزقازيق وحدها حوالي 37 الف م3/سنة</a:t>
            </a:r>
            <a:endParaRPr lang="en-US" sz="1984" dirty="0">
              <a:solidFill>
                <a:srgbClr val="FF0000"/>
              </a:solidFill>
            </a:endParaRPr>
          </a:p>
        </p:txBody>
      </p:sp>
      <p:graphicFrame>
        <p:nvGraphicFramePr>
          <p:cNvPr id="7" name="Diagram 6">
            <a:extLst>
              <a:ext uri="{FF2B5EF4-FFF2-40B4-BE49-F238E27FC236}">
                <a16:creationId xmlns:a16="http://schemas.microsoft.com/office/drawing/2014/main" id="{96925DDF-01C5-76D9-F910-389EA13C32FE}"/>
              </a:ext>
            </a:extLst>
          </p:cNvPr>
          <p:cNvGraphicFramePr/>
          <p:nvPr>
            <p:extLst>
              <p:ext uri="{D42A27DB-BD31-4B8C-83A1-F6EECF244321}">
                <p14:modId xmlns:p14="http://schemas.microsoft.com/office/powerpoint/2010/main" val="198432361"/>
              </p:ext>
            </p:extLst>
          </p:nvPr>
        </p:nvGraphicFramePr>
        <p:xfrm>
          <a:off x="7644484" y="5351555"/>
          <a:ext cx="5848295" cy="4016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a:extLst>
              <a:ext uri="{FF2B5EF4-FFF2-40B4-BE49-F238E27FC236}">
                <a16:creationId xmlns:a16="http://schemas.microsoft.com/office/drawing/2014/main" id="{5F73E50F-EB39-6789-9D9D-DE79905646A9}"/>
              </a:ext>
            </a:extLst>
          </p:cNvPr>
          <p:cNvSpPr txBox="1"/>
          <p:nvPr/>
        </p:nvSpPr>
        <p:spPr>
          <a:xfrm>
            <a:off x="13663262" y="6746290"/>
            <a:ext cx="1396732" cy="2885405"/>
          </a:xfrm>
          <a:prstGeom prst="rect">
            <a:avLst/>
          </a:prstGeom>
          <a:noFill/>
        </p:spPr>
        <p:txBody>
          <a:bodyPr wrap="square" rtlCol="0">
            <a:spAutoFit/>
          </a:bodyPr>
          <a:lstStyle/>
          <a:p>
            <a:pPr algn="ctr"/>
            <a:r>
              <a:rPr lang="ar-EG" altLang="en-US" sz="3025" b="1" dirty="0">
                <a:solidFill>
                  <a:srgbClr val="FF0000"/>
                </a:solidFill>
                <a:cs typeface="Akhbar MT" pitchFamily="2" charset="-78"/>
              </a:rPr>
              <a:t>المخاطر البيئية لعدم التداول الامن للحمأة</a:t>
            </a:r>
            <a:endParaRPr lang="en-US" sz="3025" dirty="0">
              <a:solidFill>
                <a:srgbClr val="FF0000"/>
              </a:solidFill>
            </a:endParaRPr>
          </a:p>
        </p:txBody>
      </p:sp>
    </p:spTree>
    <p:extLst>
      <p:ext uri="{BB962C8B-B14F-4D97-AF65-F5344CB8AC3E}">
        <p14:creationId xmlns:p14="http://schemas.microsoft.com/office/powerpoint/2010/main" val="1921790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05022FB-DA7F-B94F-DC42-B3B842FA9BDC}"/>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1" y="2519795"/>
            <a:ext cx="15119349" cy="6978028"/>
          </a:xfrm>
          <a:prstGeom prst="rect">
            <a:avLst/>
          </a:prstGeom>
        </p:spPr>
      </p:pic>
      <p:sp>
        <p:nvSpPr>
          <p:cNvPr id="8" name="Title 1"/>
          <p:cNvSpPr txBox="1">
            <a:spLocks/>
          </p:cNvSpPr>
          <p:nvPr/>
        </p:nvSpPr>
        <p:spPr>
          <a:xfrm>
            <a:off x="1039455" y="2303464"/>
            <a:ext cx="14079895" cy="1643836"/>
          </a:xfrm>
          <a:prstGeom prst="rect">
            <a:avLst/>
          </a:prstGeom>
        </p:spPr>
        <p:txBody>
          <a:bodyPr vert="horz" lIns="113395" tIns="56698" rIns="113395" bIns="5669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defRPr/>
            </a:pP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الوضع المستقبلي للحمأة وتفاقم المشكلة</a:t>
            </a:r>
            <a:endParaRPr lang="en-US"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endParaRPr>
          </a:p>
        </p:txBody>
      </p:sp>
      <p:sp>
        <p:nvSpPr>
          <p:cNvPr id="9" name="Content Placeholder 2"/>
          <p:cNvSpPr txBox="1">
            <a:spLocks/>
          </p:cNvSpPr>
          <p:nvPr/>
        </p:nvSpPr>
        <p:spPr>
          <a:xfrm>
            <a:off x="1039456" y="4048234"/>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2" name="Content Placeholder 2">
            <a:extLst>
              <a:ext uri="{FF2B5EF4-FFF2-40B4-BE49-F238E27FC236}">
                <a16:creationId xmlns:a16="http://schemas.microsoft.com/office/drawing/2014/main" id="{6DEA5683-530F-30DD-2494-79FC8A62E2AB}"/>
              </a:ext>
            </a:extLst>
          </p:cNvPr>
          <p:cNvSpPr txBox="1">
            <a:spLocks/>
          </p:cNvSpPr>
          <p:nvPr/>
        </p:nvSpPr>
        <p:spPr>
          <a:xfrm>
            <a:off x="1380420" y="3687785"/>
            <a:ext cx="1373892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14" name="TextBox 13">
            <a:extLst>
              <a:ext uri="{FF2B5EF4-FFF2-40B4-BE49-F238E27FC236}">
                <a16:creationId xmlns:a16="http://schemas.microsoft.com/office/drawing/2014/main" id="{8FB33CEE-2802-2FBA-1CF9-67FCA4EE7197}"/>
              </a:ext>
            </a:extLst>
          </p:cNvPr>
          <p:cNvSpPr txBox="1"/>
          <p:nvPr/>
        </p:nvSpPr>
        <p:spPr>
          <a:xfrm>
            <a:off x="5870352" y="8518162"/>
            <a:ext cx="3406332" cy="557845"/>
          </a:xfrm>
          <a:prstGeom prst="rect">
            <a:avLst/>
          </a:prstGeom>
          <a:noFill/>
        </p:spPr>
        <p:txBody>
          <a:bodyPr wrap="square" rtlCol="0">
            <a:spAutoFit/>
          </a:bodyPr>
          <a:lstStyle/>
          <a:p>
            <a:endParaRPr lang="en-US" sz="3025" dirty="0"/>
          </a:p>
        </p:txBody>
      </p:sp>
      <p:sp>
        <p:nvSpPr>
          <p:cNvPr id="15" name="Rectangle 10">
            <a:extLst>
              <a:ext uri="{FF2B5EF4-FFF2-40B4-BE49-F238E27FC236}">
                <a16:creationId xmlns:a16="http://schemas.microsoft.com/office/drawing/2014/main" id="{1DA82508-D5C6-FBE3-6474-96BEC17E703C}"/>
              </a:ext>
            </a:extLst>
          </p:cNvPr>
          <p:cNvSpPr>
            <a:spLocks noChangeArrowheads="1"/>
          </p:cNvSpPr>
          <p:nvPr/>
        </p:nvSpPr>
        <p:spPr bwMode="auto">
          <a:xfrm>
            <a:off x="4716754" y="5471689"/>
            <a:ext cx="6964551" cy="58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3395" tIns="56698" rIns="113395" bIns="56698" numCol="1" anchor="ctr" anchorCtr="0" compatLnSpc="1">
            <a:prstTxWarp prst="textNoShape">
              <a:avLst/>
            </a:prstTxWarp>
            <a:spAutoFit/>
          </a:bodyPr>
          <a:lstStyle/>
          <a:p>
            <a:endParaRPr lang="en-US" sz="3025"/>
          </a:p>
        </p:txBody>
      </p:sp>
      <p:sp>
        <p:nvSpPr>
          <p:cNvPr id="3" name="Rectangle 2">
            <a:extLst>
              <a:ext uri="{FF2B5EF4-FFF2-40B4-BE49-F238E27FC236}">
                <a16:creationId xmlns:a16="http://schemas.microsoft.com/office/drawing/2014/main" id="{E53294EA-000F-D78F-B6E1-C69542CE1CBE}"/>
              </a:ext>
            </a:extLst>
          </p:cNvPr>
          <p:cNvSpPr>
            <a:spLocks noChangeArrowheads="1"/>
          </p:cNvSpPr>
          <p:nvPr/>
        </p:nvSpPr>
        <p:spPr bwMode="auto">
          <a:xfrm>
            <a:off x="168887" y="1388652"/>
            <a:ext cx="229069" cy="58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13395" tIns="56698" rIns="113395" bIns="56698" numCol="1" anchor="ctr" anchorCtr="0" compatLnSpc="1">
            <a:prstTxWarp prst="textNoShape">
              <a:avLst/>
            </a:prstTxWarp>
            <a:spAutoFit/>
          </a:bodyPr>
          <a:lstStyle/>
          <a:p>
            <a:endParaRPr lang="en-US" sz="3025"/>
          </a:p>
        </p:txBody>
      </p:sp>
      <p:sp>
        <p:nvSpPr>
          <p:cNvPr id="10" name="TextBox 9">
            <a:extLst>
              <a:ext uri="{FF2B5EF4-FFF2-40B4-BE49-F238E27FC236}">
                <a16:creationId xmlns:a16="http://schemas.microsoft.com/office/drawing/2014/main" id="{B27ABDA6-EA73-1630-0C63-80BF14EFA28F}"/>
              </a:ext>
            </a:extLst>
          </p:cNvPr>
          <p:cNvSpPr txBox="1"/>
          <p:nvPr/>
        </p:nvSpPr>
        <p:spPr>
          <a:xfrm>
            <a:off x="5524997" y="3650179"/>
            <a:ext cx="8592093" cy="1847942"/>
          </a:xfrm>
          <a:prstGeom prst="rect">
            <a:avLst/>
          </a:prstGeom>
          <a:noFill/>
        </p:spPr>
        <p:txBody>
          <a:bodyPr wrap="square">
            <a:spAutoFit/>
          </a:bodyPr>
          <a:lstStyle/>
          <a:p>
            <a:pPr marL="425230" indent="-425230" algn="just" rtl="1">
              <a:lnSpc>
                <a:spcPct val="115000"/>
              </a:lnSpc>
              <a:buFont typeface="Symbol" panose="05050102010706020507" pitchFamily="18" charset="2"/>
              <a:buChar char=""/>
            </a:pPr>
            <a:r>
              <a:rPr lang="ar-EG" sz="2480" b="1" dirty="0">
                <a:cs typeface="Akhbar MT" pitchFamily="2" charset="-78"/>
              </a:rPr>
              <a:t>من المتوقع بانتهاء المشروعات الحالية التي تتم تحت مظلة المبادرة الرئاسية حياة كريمة وكذلك باقي مشاريع مد خدمات الصرف الصحي في غضون سنتين ستبلغ كمية الحمأة المنتجة 170 الف متر مكعب بالسنة ومنها يتضح حجم المشكلة التي ستؤثر علي البيئة والصحة العامة وكذلك التأثير علي الاستثمارات المنفقة في المشاريع القومية.</a:t>
            </a:r>
          </a:p>
        </p:txBody>
      </p:sp>
      <p:sp>
        <p:nvSpPr>
          <p:cNvPr id="6" name="TextBox 5">
            <a:extLst>
              <a:ext uri="{FF2B5EF4-FFF2-40B4-BE49-F238E27FC236}">
                <a16:creationId xmlns:a16="http://schemas.microsoft.com/office/drawing/2014/main" id="{9A20F3EE-3272-B55D-DBBC-CC3B2F6A197F}"/>
              </a:ext>
            </a:extLst>
          </p:cNvPr>
          <p:cNvSpPr txBox="1"/>
          <p:nvPr/>
        </p:nvSpPr>
        <p:spPr>
          <a:xfrm>
            <a:off x="4983328" y="5974601"/>
            <a:ext cx="9935940" cy="1054135"/>
          </a:xfrm>
          <a:prstGeom prst="rect">
            <a:avLst/>
          </a:prstGeom>
          <a:noFill/>
        </p:spPr>
        <p:txBody>
          <a:bodyPr wrap="square">
            <a:spAutoFit/>
          </a:bodyPr>
          <a:lstStyle/>
          <a:p>
            <a:pPr algn="r" defTabSz="1133947" rtl="1">
              <a:lnSpc>
                <a:spcPct val="90000"/>
              </a:lnSpc>
              <a:spcBef>
                <a:spcPct val="0"/>
              </a:spcBef>
              <a:defRPr/>
            </a:pPr>
            <a:r>
              <a:rPr lang="ar-EG" sz="3472" dirty="0">
                <a:solidFill>
                  <a:srgbClr val="FF0000"/>
                </a:solidFill>
                <a:effectLst>
                  <a:outerShdw blurRad="38100" dist="38100" dir="2700000" algn="tl">
                    <a:srgbClr val="000000">
                      <a:alpha val="43137"/>
                    </a:srgbClr>
                  </a:outerShdw>
                </a:effectLst>
                <a:latin typeface="Calibri Light" panose="020F0302020204030204"/>
                <a:ea typeface="+mj-ea"/>
                <a:cs typeface="Times New Roman" panose="02020603050405020304" pitchFamily="18" charset="0"/>
              </a:rPr>
              <a:t>مكونات مشروع مأمونية الحمأة بمحافظة الشرقية - المواقع المقترحة لاستقبال الحمأة</a:t>
            </a:r>
            <a:endParaRPr lang="en-US" sz="3472" dirty="0">
              <a:solidFill>
                <a:srgbClr val="FF0000"/>
              </a:solidFill>
              <a:effectLst>
                <a:outerShdw blurRad="38100" dist="38100" dir="2700000" algn="tl">
                  <a:srgbClr val="000000">
                    <a:alpha val="43137"/>
                  </a:srgbClr>
                </a:outerShdw>
              </a:effectLst>
              <a:latin typeface="Calibri Light" panose="020F0302020204030204"/>
              <a:ea typeface="+mj-ea"/>
              <a:cs typeface="Times New Roman" panose="02020603050405020304" pitchFamily="18" charset="0"/>
            </a:endParaRPr>
          </a:p>
        </p:txBody>
      </p:sp>
      <p:graphicFrame>
        <p:nvGraphicFramePr>
          <p:cNvPr id="7" name="Diagram 6">
            <a:extLst>
              <a:ext uri="{FF2B5EF4-FFF2-40B4-BE49-F238E27FC236}">
                <a16:creationId xmlns:a16="http://schemas.microsoft.com/office/drawing/2014/main" id="{C7C9F37C-FEBA-786B-A475-86F5AF70C6C9}"/>
              </a:ext>
            </a:extLst>
          </p:cNvPr>
          <p:cNvGraphicFramePr/>
          <p:nvPr>
            <p:extLst>
              <p:ext uri="{D42A27DB-BD31-4B8C-83A1-F6EECF244321}">
                <p14:modId xmlns:p14="http://schemas.microsoft.com/office/powerpoint/2010/main" val="764085537"/>
              </p:ext>
            </p:extLst>
          </p:nvPr>
        </p:nvGraphicFramePr>
        <p:xfrm>
          <a:off x="5524996" y="6987624"/>
          <a:ext cx="9434982" cy="27917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7A9FCD60-9DF5-25FF-A984-049678B480A9}"/>
              </a:ext>
            </a:extLst>
          </p:cNvPr>
          <p:cNvSpPr txBox="1"/>
          <p:nvPr/>
        </p:nvSpPr>
        <p:spPr>
          <a:xfrm>
            <a:off x="541048" y="3150345"/>
            <a:ext cx="4303133" cy="2084545"/>
          </a:xfrm>
          <a:prstGeom prst="rect">
            <a:avLst/>
          </a:prstGeom>
          <a:solidFill>
            <a:schemeClr val="bg2"/>
          </a:solidFill>
        </p:spPr>
        <p:txBody>
          <a:bodyPr wrap="square" rtlCol="0">
            <a:spAutoFit/>
          </a:bodyPr>
          <a:lstStyle/>
          <a:p>
            <a:pPr algn="just" rtl="1"/>
            <a:r>
              <a:rPr lang="ar-EG" sz="3025"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تم حتي تاريخه الاتي:</a:t>
            </a:r>
          </a:p>
          <a:p>
            <a:pPr marL="354359" indent="-354359" algn="just" rtl="1">
              <a:buFontTx/>
              <a:buChar char="-"/>
            </a:pPr>
            <a:r>
              <a:rPr lang="ar-EG" sz="1984" dirty="0">
                <a:latin typeface="Calibri" panose="020F0502020204030204" pitchFamily="34" charset="0"/>
                <a:cs typeface="Calibri" panose="020F0502020204030204" pitchFamily="34" charset="0"/>
              </a:rPr>
              <a:t>تحديد مواقع استقبال الحمأة وأماكن تشوينها</a:t>
            </a:r>
          </a:p>
          <a:p>
            <a:pPr marL="354359" indent="-354359" algn="just" rtl="1">
              <a:buFontTx/>
              <a:buChar char="-"/>
            </a:pPr>
            <a:r>
              <a:rPr lang="ar-EG" sz="1984" dirty="0">
                <a:latin typeface="Calibri" panose="020F0502020204030204" pitchFamily="34" charset="0"/>
                <a:cs typeface="Calibri" panose="020F0502020204030204" pitchFamily="34" charset="0"/>
              </a:rPr>
              <a:t>تحديد مواصفات المعدات اللازمة للمشروع</a:t>
            </a:r>
          </a:p>
          <a:p>
            <a:pPr marL="354359" indent="-354359" algn="just" rtl="1">
              <a:buFontTx/>
              <a:buChar char="-"/>
            </a:pPr>
            <a:r>
              <a:rPr lang="ar-EG" sz="1984" dirty="0">
                <a:latin typeface="Calibri" panose="020F0502020204030204" pitchFamily="34" charset="0"/>
                <a:cs typeface="Calibri" panose="020F0502020204030204" pitchFamily="34" charset="0"/>
              </a:rPr>
              <a:t>الانتهاء من الدراسة الاقتصادية للمشروع</a:t>
            </a:r>
          </a:p>
          <a:p>
            <a:pPr marL="354359" indent="-354359" algn="just" rtl="1">
              <a:buFontTx/>
              <a:buChar char="-"/>
            </a:pPr>
            <a:r>
              <a:rPr lang="ar-EG" sz="1984" dirty="0">
                <a:latin typeface="Calibri" panose="020F0502020204030204" pitchFamily="34" charset="0"/>
                <a:cs typeface="Calibri" panose="020F0502020204030204" pitchFamily="34" charset="0"/>
              </a:rPr>
              <a:t>تدريب وتأهيل فريق العمل</a:t>
            </a:r>
          </a:p>
          <a:p>
            <a:pPr marL="354359" indent="-354359" algn="just" rtl="1">
              <a:buFontTx/>
              <a:buChar char="-"/>
            </a:pPr>
            <a:r>
              <a:rPr lang="ar-EG" sz="1984" dirty="0">
                <a:latin typeface="Calibri" panose="020F0502020204030204" pitchFamily="34" charset="0"/>
                <a:cs typeface="Calibri" panose="020F0502020204030204" pitchFamily="34" charset="0"/>
              </a:rPr>
              <a:t>الانتهاء من كتيب إرشادات لمأمونية الحمأة</a:t>
            </a:r>
          </a:p>
        </p:txBody>
      </p:sp>
      <p:sp>
        <p:nvSpPr>
          <p:cNvPr id="16" name="TextBox 15">
            <a:extLst>
              <a:ext uri="{FF2B5EF4-FFF2-40B4-BE49-F238E27FC236}">
                <a16:creationId xmlns:a16="http://schemas.microsoft.com/office/drawing/2014/main" id="{B8D9CE0B-F438-5C9B-F9A4-E8B9BBF09F35}"/>
              </a:ext>
            </a:extLst>
          </p:cNvPr>
          <p:cNvSpPr txBox="1"/>
          <p:nvPr/>
        </p:nvSpPr>
        <p:spPr>
          <a:xfrm>
            <a:off x="588992" y="6323254"/>
            <a:ext cx="4303133" cy="3000565"/>
          </a:xfrm>
          <a:prstGeom prst="rect">
            <a:avLst/>
          </a:prstGeom>
          <a:solidFill>
            <a:schemeClr val="bg2"/>
          </a:solidFill>
        </p:spPr>
        <p:txBody>
          <a:bodyPr wrap="square" rtlCol="0">
            <a:spAutoFit/>
          </a:bodyPr>
          <a:lstStyle/>
          <a:p>
            <a:pPr algn="just" rtl="1"/>
            <a:r>
              <a:rPr lang="ar-EG" sz="3025"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المخطط مستقبلا للمشروع:</a:t>
            </a:r>
          </a:p>
          <a:p>
            <a:pPr marL="354359" indent="-354359" algn="just" rtl="1">
              <a:buFontTx/>
              <a:buChar char="-"/>
            </a:pPr>
            <a:r>
              <a:rPr lang="ar-EG" sz="1984" dirty="0">
                <a:latin typeface="Calibri" panose="020F0502020204030204" pitchFamily="34" charset="0"/>
                <a:cs typeface="Calibri" panose="020F0502020204030204" pitchFamily="34" charset="0"/>
              </a:rPr>
              <a:t>استخدام الحمأة المجمعة بموقع </a:t>
            </a:r>
            <a:r>
              <a:rPr lang="ar-EG" sz="1984" dirty="0" err="1">
                <a:latin typeface="Calibri" panose="020F0502020204030204" pitchFamily="34" charset="0"/>
                <a:cs typeface="Calibri" panose="020F0502020204030204" pitchFamily="34" charset="0"/>
              </a:rPr>
              <a:t>العصلوجي</a:t>
            </a:r>
            <a:r>
              <a:rPr lang="ar-EG" sz="1984" dirty="0">
                <a:latin typeface="Calibri" panose="020F0502020204030204" pitchFamily="34" charset="0"/>
                <a:cs typeface="Calibri" panose="020F0502020204030204" pitchFamily="34" charset="0"/>
              </a:rPr>
              <a:t> </a:t>
            </a:r>
            <a:r>
              <a:rPr lang="ar-EG" sz="1984" dirty="0" err="1">
                <a:latin typeface="Calibri" panose="020F0502020204030204" pitchFamily="34" charset="0"/>
                <a:cs typeface="Calibri" panose="020F0502020204030204" pitchFamily="34" charset="0"/>
              </a:rPr>
              <a:t>لانتاج</a:t>
            </a:r>
            <a:r>
              <a:rPr lang="ar-EG" sz="1984" dirty="0">
                <a:latin typeface="Calibri" panose="020F0502020204030204" pitchFamily="34" charset="0"/>
                <a:cs typeface="Calibri" panose="020F0502020204030204" pitchFamily="34" charset="0"/>
              </a:rPr>
              <a:t> </a:t>
            </a:r>
            <a:r>
              <a:rPr lang="en-US" sz="1984" dirty="0">
                <a:latin typeface="Calibri" panose="020F0502020204030204" pitchFamily="34" charset="0"/>
                <a:cs typeface="Calibri" panose="020F0502020204030204" pitchFamily="34" charset="0"/>
              </a:rPr>
              <a:t>BIOGAS</a:t>
            </a:r>
            <a:r>
              <a:rPr lang="ar-EG" sz="1984" dirty="0">
                <a:latin typeface="Calibri" panose="020F0502020204030204" pitchFamily="34" charset="0"/>
                <a:cs typeface="Calibri" panose="020F0502020204030204" pitchFamily="34" charset="0"/>
              </a:rPr>
              <a:t> وتوليد الكهرباء منه</a:t>
            </a:r>
          </a:p>
          <a:p>
            <a:pPr marL="354359" indent="-354359" algn="just" rtl="1">
              <a:buFontTx/>
              <a:buChar char="-"/>
            </a:pPr>
            <a:r>
              <a:rPr lang="ar-EG" sz="1984" dirty="0">
                <a:latin typeface="Calibri" panose="020F0502020204030204" pitchFamily="34" charset="0"/>
                <a:cs typeface="Calibri" panose="020F0502020204030204" pitchFamily="34" charset="0"/>
              </a:rPr>
              <a:t>تغذية المواقع بالكهرباء من خلال الطاقة الشمسية</a:t>
            </a:r>
          </a:p>
          <a:p>
            <a:pPr marL="354359" indent="-354359" algn="just" rtl="1">
              <a:buFontTx/>
              <a:buChar char="-"/>
            </a:pPr>
            <a:r>
              <a:rPr lang="ar-EG" sz="1984" dirty="0">
                <a:latin typeface="Calibri" panose="020F0502020204030204" pitchFamily="34" charset="0"/>
                <a:cs typeface="Calibri" panose="020F0502020204030204" pitchFamily="34" charset="0"/>
              </a:rPr>
              <a:t>نقل الخبرات لباقي الشركات الشقيقة وبالتالي إمكانية تكرارها</a:t>
            </a:r>
          </a:p>
          <a:p>
            <a:pPr marL="354359" indent="-354359" algn="just" rtl="1">
              <a:buFontTx/>
              <a:buChar char="-"/>
            </a:pPr>
            <a:r>
              <a:rPr lang="ar-EG" sz="1984" dirty="0">
                <a:latin typeface="Calibri" panose="020F0502020204030204" pitchFamily="34" charset="0"/>
                <a:cs typeface="Calibri" panose="020F0502020204030204" pitchFamily="34" charset="0"/>
              </a:rPr>
              <a:t>إمكانية ادماج المكون المدني ( المرأة) بفتح منافذ بيع للسماد العضوي من خلالهم </a:t>
            </a:r>
          </a:p>
        </p:txBody>
      </p:sp>
    </p:spTree>
    <p:extLst>
      <p:ext uri="{BB962C8B-B14F-4D97-AF65-F5344CB8AC3E}">
        <p14:creationId xmlns:p14="http://schemas.microsoft.com/office/powerpoint/2010/main" val="3369605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409887" y="1723244"/>
            <a:ext cx="14079895" cy="1643836"/>
          </a:xfrm>
          <a:prstGeom prst="rect">
            <a:avLst/>
          </a:prstGeom>
        </p:spPr>
        <p:txBody>
          <a:bodyPr vert="horz" lIns="113395" tIns="56698" rIns="113395" bIns="5669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defTabSz="1133947" rtl="1">
              <a:defRPr/>
            </a:pPr>
            <a:r>
              <a:rPr lang="ar-EG"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rPr>
              <a:t>الأثر الخاص بالمشروع</a:t>
            </a:r>
            <a:endParaRPr lang="en-US" sz="5456" dirty="0">
              <a:solidFill>
                <a:srgbClr val="FF0000"/>
              </a:solidFill>
              <a:effectLst>
                <a:outerShdw blurRad="38100" dist="38100" dir="2700000" algn="tl">
                  <a:srgbClr val="000000">
                    <a:alpha val="43137"/>
                  </a:srgbClr>
                </a:outerShdw>
              </a:effectLst>
              <a:latin typeface="Calibri Light" panose="020F0302020204030204"/>
              <a:cs typeface="Times New Roman" panose="02020603050405020304" pitchFamily="18" charset="0"/>
            </a:endParaRPr>
          </a:p>
        </p:txBody>
      </p:sp>
      <p:sp>
        <p:nvSpPr>
          <p:cNvPr id="9" name="Content Placeholder 2"/>
          <p:cNvSpPr txBox="1">
            <a:spLocks/>
          </p:cNvSpPr>
          <p:nvPr/>
        </p:nvSpPr>
        <p:spPr>
          <a:xfrm>
            <a:off x="1039456" y="4048234"/>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2" name="Content Placeholder 2">
            <a:extLst>
              <a:ext uri="{FF2B5EF4-FFF2-40B4-BE49-F238E27FC236}">
                <a16:creationId xmlns:a16="http://schemas.microsoft.com/office/drawing/2014/main" id="{6DEA5683-530F-30DD-2494-79FC8A62E2AB}"/>
              </a:ext>
            </a:extLst>
          </p:cNvPr>
          <p:cNvSpPr txBox="1">
            <a:spLocks/>
          </p:cNvSpPr>
          <p:nvPr/>
        </p:nvSpPr>
        <p:spPr>
          <a:xfrm>
            <a:off x="1380421" y="3687785"/>
            <a:ext cx="13040439" cy="5396112"/>
          </a:xfrm>
          <a:prstGeom prst="rect">
            <a:avLst/>
          </a:prstGeom>
        </p:spPr>
        <p:txBody>
          <a:bodyPr vert="horz" lIns="113395" tIns="56698" rIns="113395" bIns="5669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487" indent="-283487" algn="r" defTabSz="1133947" rtl="1">
              <a:spcBef>
                <a:spcPts val="1240"/>
              </a:spcBef>
              <a:defRPr/>
            </a:pPr>
            <a:endParaRPr lang="en-US" sz="3472" dirty="0">
              <a:solidFill>
                <a:sysClr val="windowText" lastClr="000000"/>
              </a:solidFill>
              <a:latin typeface="Calibri" panose="020F0502020204030204"/>
            </a:endParaRPr>
          </a:p>
        </p:txBody>
      </p:sp>
      <p:sp>
        <p:nvSpPr>
          <p:cNvPr id="15" name="Rectangle 10">
            <a:extLst>
              <a:ext uri="{FF2B5EF4-FFF2-40B4-BE49-F238E27FC236}">
                <a16:creationId xmlns:a16="http://schemas.microsoft.com/office/drawing/2014/main" id="{1DA82508-D5C6-FBE3-6474-96BEC17E703C}"/>
              </a:ext>
            </a:extLst>
          </p:cNvPr>
          <p:cNvSpPr>
            <a:spLocks noChangeArrowheads="1"/>
          </p:cNvSpPr>
          <p:nvPr/>
        </p:nvSpPr>
        <p:spPr bwMode="auto">
          <a:xfrm>
            <a:off x="4716754" y="5471689"/>
            <a:ext cx="6964551" cy="58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13395" tIns="56698" rIns="113395" bIns="56698" numCol="1" anchor="ctr" anchorCtr="0" compatLnSpc="1">
            <a:prstTxWarp prst="textNoShape">
              <a:avLst/>
            </a:prstTxWarp>
            <a:spAutoFit/>
          </a:bodyPr>
          <a:lstStyle/>
          <a:p>
            <a:endParaRPr lang="en-US" sz="3025"/>
          </a:p>
        </p:txBody>
      </p:sp>
      <p:sp>
        <p:nvSpPr>
          <p:cNvPr id="3" name="Rectangle 2">
            <a:extLst>
              <a:ext uri="{FF2B5EF4-FFF2-40B4-BE49-F238E27FC236}">
                <a16:creationId xmlns:a16="http://schemas.microsoft.com/office/drawing/2014/main" id="{E53294EA-000F-D78F-B6E1-C69542CE1CBE}"/>
              </a:ext>
            </a:extLst>
          </p:cNvPr>
          <p:cNvSpPr>
            <a:spLocks noChangeArrowheads="1"/>
          </p:cNvSpPr>
          <p:nvPr/>
        </p:nvSpPr>
        <p:spPr bwMode="auto">
          <a:xfrm>
            <a:off x="168887" y="1388652"/>
            <a:ext cx="229069" cy="58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13395" tIns="56698" rIns="113395" bIns="56698" numCol="1" anchor="ctr" anchorCtr="0" compatLnSpc="1">
            <a:prstTxWarp prst="textNoShape">
              <a:avLst/>
            </a:prstTxWarp>
            <a:spAutoFit/>
          </a:bodyPr>
          <a:lstStyle/>
          <a:p>
            <a:endParaRPr lang="en-US" sz="3025"/>
          </a:p>
        </p:txBody>
      </p:sp>
      <p:pic>
        <p:nvPicPr>
          <p:cNvPr id="6" name="Picture 5">
            <a:extLst>
              <a:ext uri="{FF2B5EF4-FFF2-40B4-BE49-F238E27FC236}">
                <a16:creationId xmlns:a16="http://schemas.microsoft.com/office/drawing/2014/main" id="{EA59014E-1AE7-7EF5-38A1-4386005CD2BE}"/>
              </a:ext>
            </a:extLst>
          </p:cNvPr>
          <p:cNvPicPr>
            <a:picLocks noChangeAspect="1"/>
          </p:cNvPicPr>
          <p:nvPr/>
        </p:nvPicPr>
        <p:blipFill rotWithShape="1">
          <a:blip r:embed="rId2"/>
          <a:srcRect l="8881" t="6830" r="4293" b="3669"/>
          <a:stretch/>
        </p:blipFill>
        <p:spPr>
          <a:xfrm>
            <a:off x="7000183" y="3272328"/>
            <a:ext cx="7709280" cy="2761164"/>
          </a:xfrm>
          <a:prstGeom prst="rect">
            <a:avLst/>
          </a:prstGeom>
          <a:ln>
            <a:solidFill>
              <a:schemeClr val="tx2"/>
            </a:solidFill>
          </a:ln>
        </p:spPr>
      </p:pic>
      <p:graphicFrame>
        <p:nvGraphicFramePr>
          <p:cNvPr id="11" name="Diagram 10">
            <a:extLst>
              <a:ext uri="{FF2B5EF4-FFF2-40B4-BE49-F238E27FC236}">
                <a16:creationId xmlns:a16="http://schemas.microsoft.com/office/drawing/2014/main" id="{940E2A15-7CDE-F09F-4A4D-60C561FC43F0}"/>
              </a:ext>
            </a:extLst>
          </p:cNvPr>
          <p:cNvGraphicFramePr/>
          <p:nvPr>
            <p:extLst>
              <p:ext uri="{D42A27DB-BD31-4B8C-83A1-F6EECF244321}">
                <p14:modId xmlns:p14="http://schemas.microsoft.com/office/powerpoint/2010/main" val="4196007771"/>
              </p:ext>
            </p:extLst>
          </p:nvPr>
        </p:nvGraphicFramePr>
        <p:xfrm>
          <a:off x="-2384668" y="1705659"/>
          <a:ext cx="8680867" cy="41050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3" name="Diagram 82">
            <a:extLst>
              <a:ext uri="{FF2B5EF4-FFF2-40B4-BE49-F238E27FC236}">
                <a16:creationId xmlns:a16="http://schemas.microsoft.com/office/drawing/2014/main" id="{5DE314D0-5927-DDDA-6D98-8748C6DCFEB1}"/>
              </a:ext>
            </a:extLst>
          </p:cNvPr>
          <p:cNvGraphicFramePr/>
          <p:nvPr>
            <p:extLst>
              <p:ext uri="{D42A27DB-BD31-4B8C-83A1-F6EECF244321}">
                <p14:modId xmlns:p14="http://schemas.microsoft.com/office/powerpoint/2010/main" val="1822396073"/>
              </p:ext>
            </p:extLst>
          </p:nvPr>
        </p:nvGraphicFramePr>
        <p:xfrm>
          <a:off x="-168886" y="4688456"/>
          <a:ext cx="5643442" cy="48760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5" name="TextBox 84">
            <a:extLst>
              <a:ext uri="{FF2B5EF4-FFF2-40B4-BE49-F238E27FC236}">
                <a16:creationId xmlns:a16="http://schemas.microsoft.com/office/drawing/2014/main" id="{37D1BDA3-5768-335F-19BD-2CB776F03262}"/>
              </a:ext>
            </a:extLst>
          </p:cNvPr>
          <p:cNvSpPr txBox="1"/>
          <p:nvPr/>
        </p:nvSpPr>
        <p:spPr>
          <a:xfrm>
            <a:off x="-6325253" y="9174768"/>
            <a:ext cx="8978086" cy="401457"/>
          </a:xfrm>
          <a:prstGeom prst="rect">
            <a:avLst/>
          </a:prstGeom>
          <a:noFill/>
        </p:spPr>
        <p:txBody>
          <a:bodyPr wrap="square">
            <a:spAutoFit/>
          </a:bodyPr>
          <a:lstStyle/>
          <a:p>
            <a:pPr algn="r" defTabSz="1133947" rtl="1">
              <a:lnSpc>
                <a:spcPct val="90000"/>
              </a:lnSpc>
              <a:spcBef>
                <a:spcPct val="0"/>
              </a:spcBef>
              <a:defRPr/>
            </a:pPr>
            <a:r>
              <a:rPr lang="ar-EG" sz="2232" b="1" dirty="0">
                <a:solidFill>
                  <a:srgbClr val="00B050"/>
                </a:solidFill>
                <a:effectLst>
                  <a:outerShdw blurRad="38100" dist="38100" dir="2700000" algn="tl">
                    <a:srgbClr val="000000">
                      <a:alpha val="43137"/>
                    </a:srgbClr>
                  </a:outerShdw>
                </a:effectLst>
                <a:latin typeface="Calibri Light" panose="020F0302020204030204"/>
                <a:ea typeface="+mj-ea"/>
                <a:cs typeface="Times New Roman" panose="02020603050405020304" pitchFamily="18" charset="0"/>
              </a:rPr>
              <a:t>المكون الأخضر للمشروع</a:t>
            </a:r>
            <a:endParaRPr lang="en-US" sz="2232" b="1" dirty="0">
              <a:solidFill>
                <a:srgbClr val="00B050"/>
              </a:solidFill>
              <a:effectLst>
                <a:outerShdw blurRad="38100" dist="38100" dir="2700000" algn="tl">
                  <a:srgbClr val="000000">
                    <a:alpha val="43137"/>
                  </a:srgbClr>
                </a:outerShdw>
              </a:effectLst>
              <a:latin typeface="Calibri Light" panose="020F0302020204030204"/>
              <a:ea typeface="+mj-ea"/>
              <a:cs typeface="+mj-cs"/>
            </a:endParaRPr>
          </a:p>
        </p:txBody>
      </p:sp>
      <p:graphicFrame>
        <p:nvGraphicFramePr>
          <p:cNvPr id="86" name="Diagram 85">
            <a:extLst>
              <a:ext uri="{FF2B5EF4-FFF2-40B4-BE49-F238E27FC236}">
                <a16:creationId xmlns:a16="http://schemas.microsoft.com/office/drawing/2014/main" id="{757A287F-D7CA-F49D-855D-BC08F967F33B}"/>
              </a:ext>
            </a:extLst>
          </p:cNvPr>
          <p:cNvGraphicFramePr/>
          <p:nvPr>
            <p:extLst>
              <p:ext uri="{D42A27DB-BD31-4B8C-83A1-F6EECF244321}">
                <p14:modId xmlns:p14="http://schemas.microsoft.com/office/powerpoint/2010/main" val="4013670105"/>
              </p:ext>
            </p:extLst>
          </p:nvPr>
        </p:nvGraphicFramePr>
        <p:xfrm>
          <a:off x="5638342" y="6706606"/>
          <a:ext cx="9167377" cy="291599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88" name="TextBox 87">
            <a:extLst>
              <a:ext uri="{FF2B5EF4-FFF2-40B4-BE49-F238E27FC236}">
                <a16:creationId xmlns:a16="http://schemas.microsoft.com/office/drawing/2014/main" id="{EA2217C6-8AA8-1659-8C3F-76AA55ECE54E}"/>
              </a:ext>
            </a:extLst>
          </p:cNvPr>
          <p:cNvSpPr txBox="1"/>
          <p:nvPr/>
        </p:nvSpPr>
        <p:spPr>
          <a:xfrm>
            <a:off x="5936321" y="6153692"/>
            <a:ext cx="8978086" cy="401457"/>
          </a:xfrm>
          <a:prstGeom prst="rect">
            <a:avLst/>
          </a:prstGeom>
          <a:noFill/>
        </p:spPr>
        <p:txBody>
          <a:bodyPr wrap="square">
            <a:spAutoFit/>
          </a:bodyPr>
          <a:lstStyle/>
          <a:p>
            <a:pPr algn="r" defTabSz="1133947" rtl="1">
              <a:lnSpc>
                <a:spcPct val="90000"/>
              </a:lnSpc>
              <a:spcBef>
                <a:spcPct val="0"/>
              </a:spcBef>
              <a:defRPr/>
            </a:pPr>
            <a:r>
              <a:rPr lang="ar-EG" sz="2232" b="1" dirty="0">
                <a:solidFill>
                  <a:schemeClr val="tx2"/>
                </a:solidFill>
                <a:effectLst>
                  <a:outerShdw blurRad="38100" dist="38100" dir="2700000" algn="tl">
                    <a:srgbClr val="000000">
                      <a:alpha val="43137"/>
                    </a:srgbClr>
                  </a:outerShdw>
                </a:effectLst>
                <a:latin typeface="Calibri Light" panose="020F0302020204030204"/>
                <a:ea typeface="+mj-ea"/>
                <a:cs typeface="Times New Roman" panose="02020603050405020304" pitchFamily="18" charset="0"/>
              </a:rPr>
              <a:t>المكون الذكي للمشروع</a:t>
            </a:r>
            <a:endParaRPr lang="en-US" sz="2232" b="1" dirty="0">
              <a:solidFill>
                <a:schemeClr val="tx2"/>
              </a:solidFill>
              <a:effectLst>
                <a:outerShdw blurRad="38100" dist="38100" dir="2700000" algn="tl">
                  <a:srgbClr val="000000">
                    <a:alpha val="43137"/>
                  </a:srgbClr>
                </a:outerShdw>
              </a:effectLst>
              <a:latin typeface="Calibri Light" panose="020F0302020204030204"/>
              <a:ea typeface="+mj-ea"/>
              <a:cs typeface="+mj-cs"/>
            </a:endParaRPr>
          </a:p>
        </p:txBody>
      </p:sp>
      <p:sp>
        <p:nvSpPr>
          <p:cNvPr id="89" name="Explosion: 8 Points 88">
            <a:extLst>
              <a:ext uri="{FF2B5EF4-FFF2-40B4-BE49-F238E27FC236}">
                <a16:creationId xmlns:a16="http://schemas.microsoft.com/office/drawing/2014/main" id="{78C21816-59D4-FA6C-7A35-8EC3E7952CA0}"/>
              </a:ext>
            </a:extLst>
          </p:cNvPr>
          <p:cNvSpPr/>
          <p:nvPr/>
        </p:nvSpPr>
        <p:spPr>
          <a:xfrm>
            <a:off x="4087186" y="2347069"/>
            <a:ext cx="2776976" cy="3122410"/>
          </a:xfrm>
          <a:prstGeom prst="irregularSeal1">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ar-EG" sz="3025" dirty="0"/>
              <a:t>خفض الغازات الدفيئة بنسبة 50%</a:t>
            </a:r>
            <a:endParaRPr lang="en-US" sz="3025" dirty="0"/>
          </a:p>
        </p:txBody>
      </p:sp>
      <p:sp>
        <p:nvSpPr>
          <p:cNvPr id="90" name="Rectangle 89">
            <a:extLst>
              <a:ext uri="{FF2B5EF4-FFF2-40B4-BE49-F238E27FC236}">
                <a16:creationId xmlns:a16="http://schemas.microsoft.com/office/drawing/2014/main" id="{62F85CED-425B-21BA-808A-2722C98F28E4}"/>
              </a:ext>
            </a:extLst>
          </p:cNvPr>
          <p:cNvSpPr/>
          <p:nvPr/>
        </p:nvSpPr>
        <p:spPr>
          <a:xfrm>
            <a:off x="4015326" y="5490275"/>
            <a:ext cx="3043270" cy="479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16" i="1" dirty="0">
                <a:solidFill>
                  <a:schemeClr val="tx2"/>
                </a:solidFill>
              </a:rPr>
              <a:t>Journal of the Air &amp; Waste Management Association</a:t>
            </a:r>
          </a:p>
        </p:txBody>
      </p:sp>
    </p:spTree>
    <p:extLst>
      <p:ext uri="{BB962C8B-B14F-4D97-AF65-F5344CB8AC3E}">
        <p14:creationId xmlns:p14="http://schemas.microsoft.com/office/powerpoint/2010/main" val="3826645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11</TotalTime>
  <Words>787</Words>
  <Application>Microsoft Office PowerPoint</Application>
  <PresentationFormat>Custom</PresentationFormat>
  <Paragraphs>102</Paragraphs>
  <Slides>6</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6</vt:i4>
      </vt:variant>
    </vt:vector>
  </HeadingPairs>
  <TitlesOfParts>
    <vt:vector size="13" baseType="lpstr">
      <vt:lpstr>Arial</vt:lpstr>
      <vt:lpstr>Calibri</vt:lpstr>
      <vt:lpstr>Calibri Light</vt:lpstr>
      <vt:lpstr>Century Gothic</vt:lpstr>
      <vt:lpstr>HSIshraq-Thin</vt:lpstr>
      <vt:lpstr>Symbol</vt:lpstr>
      <vt:lpstr>Office Theme</vt:lpstr>
      <vt:lpstr>المشروعات المتأهلة على مستوى المحافظات</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ed adel</dc:creator>
  <cp:lastModifiedBy>Mohamed Elmelegy</cp:lastModifiedBy>
  <cp:revision>20</cp:revision>
  <dcterms:created xsi:type="dcterms:W3CDTF">2022-09-29T13:35:57Z</dcterms:created>
  <dcterms:modified xsi:type="dcterms:W3CDTF">2022-10-20T21:08:03Z</dcterms:modified>
</cp:coreProperties>
</file>